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2146846143" r:id="rId5"/>
    <p:sldId id="2146846137" r:id="rId6"/>
    <p:sldId id="2146846139" r:id="rId7"/>
    <p:sldId id="2146846140" r:id="rId8"/>
    <p:sldId id="2146846135" r:id="rId9"/>
    <p:sldId id="2146846104" r:id="rId10"/>
    <p:sldId id="2146846138" r:id="rId11"/>
    <p:sldId id="2146846141" r:id="rId12"/>
    <p:sldId id="2146846142" r:id="rId13"/>
  </p:sldIdLst>
  <p:sldSz cx="12192000" cy="6858000"/>
  <p:notesSz cx="6858000" cy="9144000"/>
  <p:custDataLst>
    <p:tags r:id="rId16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09B5937-3ED7-4E05-B3E6-6DB33CDBE7C1}">
          <p14:sldIdLst>
            <p14:sldId id="2146846143"/>
            <p14:sldId id="2146846137"/>
            <p14:sldId id="2146846139"/>
            <p14:sldId id="2146846140"/>
            <p14:sldId id="2146846135"/>
            <p14:sldId id="2146846104"/>
            <p14:sldId id="2146846138"/>
            <p14:sldId id="2146846141"/>
            <p14:sldId id="214684614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ine Abreu" initials="CA" lastIdx="3" clrIdx="0">
    <p:extLst>
      <p:ext uri="{19B8F6BF-5375-455C-9EA6-DF929625EA0E}">
        <p15:presenceInfo xmlns:p15="http://schemas.microsoft.com/office/powerpoint/2012/main" userId="S::Caroline.Abreu@br.ey.com::bfd3b66c-b3b5-49dc-8f1e-f44487b1dddd" providerId="AD"/>
      </p:ext>
    </p:extLst>
  </p:cmAuthor>
  <p:cmAuthor id="2" name="Katerine Schifino" initials="KS" lastIdx="2" clrIdx="1">
    <p:extLst>
      <p:ext uri="{19B8F6BF-5375-455C-9EA6-DF929625EA0E}">
        <p15:presenceInfo xmlns:p15="http://schemas.microsoft.com/office/powerpoint/2012/main" userId="S::Katerine.Schifino@co.ey.com::37bb67de-9fcf-4611-888c-7e5b58184a2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3A55"/>
    <a:srgbClr val="D4BFF8"/>
    <a:srgbClr val="366E7A"/>
    <a:srgbClr val="3A8997"/>
    <a:srgbClr val="64C2C8"/>
    <a:srgbClr val="FBBE5B"/>
    <a:srgbClr val="F39149"/>
    <a:srgbClr val="DC5149"/>
    <a:srgbClr val="54959D"/>
    <a:srgbClr val="BD93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5C8BE2-FB64-46AF-9AD9-81EABAEB6D1C}" v="19" dt="2022-03-28T20:18:31.3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86" autoAdjust="0"/>
    <p:restoredTop sz="94796" autoAdjust="0"/>
  </p:normalViewPr>
  <p:slideViewPr>
    <p:cSldViewPr snapToGrid="0">
      <p:cViewPr varScale="1">
        <p:scale>
          <a:sx n="59" d="100"/>
          <a:sy n="59" d="100"/>
        </p:scale>
        <p:origin x="768" y="60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anca Naomy" userId="abf68bbe-83b2-4c0b-9325-ce8a54e5fdae" providerId="ADAL" clId="{3F3AB1CD-0917-42A7-B7D6-2663540B048D}"/>
    <pc:docChg chg="undo redo custSel addSld delSld modSld sldOrd">
      <pc:chgData name="Bianca Naomy" userId="abf68bbe-83b2-4c0b-9325-ce8a54e5fdae" providerId="ADAL" clId="{3F3AB1CD-0917-42A7-B7D6-2663540B048D}" dt="2022-03-04T19:24:31.099" v="2506" actId="14100"/>
      <pc:docMkLst>
        <pc:docMk/>
      </pc:docMkLst>
      <pc:sldChg chg="addSp new del mod">
        <pc:chgData name="Bianca Naomy" userId="abf68bbe-83b2-4c0b-9325-ce8a54e5fdae" providerId="ADAL" clId="{3F3AB1CD-0917-42A7-B7D6-2663540B048D}" dt="2022-03-03T13:22:28.974" v="76" actId="47"/>
        <pc:sldMkLst>
          <pc:docMk/>
          <pc:sldMk cId="3057103668" sldId="2146846070"/>
        </pc:sldMkLst>
        <pc:picChg chg="add">
          <ac:chgData name="Bianca Naomy" userId="abf68bbe-83b2-4c0b-9325-ce8a54e5fdae" providerId="ADAL" clId="{3F3AB1CD-0917-42A7-B7D6-2663540B048D}" dt="2022-03-03T12:43:28.628" v="1" actId="22"/>
          <ac:picMkLst>
            <pc:docMk/>
            <pc:sldMk cId="3057103668" sldId="2146846070"/>
            <ac:picMk id="4" creationId="{7C4EED0C-7AE2-42B6-B196-33D8FEACC93D}"/>
          </ac:picMkLst>
        </pc:picChg>
      </pc:sldChg>
      <pc:sldChg chg="addSp delSp modSp new mod ord">
        <pc:chgData name="Bianca Naomy" userId="abf68bbe-83b2-4c0b-9325-ce8a54e5fdae" providerId="ADAL" clId="{3F3AB1CD-0917-42A7-B7D6-2663540B048D}" dt="2022-03-04T13:56:28.625" v="2080" actId="21"/>
        <pc:sldMkLst>
          <pc:docMk/>
          <pc:sldMk cId="4180197559" sldId="2146846071"/>
        </pc:sldMkLst>
        <pc:spChg chg="add mod">
          <ac:chgData name="Bianca Naomy" userId="abf68bbe-83b2-4c0b-9325-ce8a54e5fdae" providerId="ADAL" clId="{3F3AB1CD-0917-42A7-B7D6-2663540B048D}" dt="2022-03-03T13:35:12.401" v="116" actId="20577"/>
          <ac:spMkLst>
            <pc:docMk/>
            <pc:sldMk cId="4180197559" sldId="2146846071"/>
            <ac:spMk id="3" creationId="{D27D7BD4-79A4-4F74-AEDD-B6DF3D38FA7F}"/>
          </ac:spMkLst>
        </pc:spChg>
        <pc:spChg chg="add mod">
          <ac:chgData name="Bianca Naomy" userId="abf68bbe-83b2-4c0b-9325-ce8a54e5fdae" providerId="ADAL" clId="{3F3AB1CD-0917-42A7-B7D6-2663540B048D}" dt="2022-03-03T20:12:11.808" v="1407" actId="14100"/>
          <ac:spMkLst>
            <pc:docMk/>
            <pc:sldMk cId="4180197559" sldId="2146846071"/>
            <ac:spMk id="4" creationId="{7504F8EF-3D40-4067-9FEF-5028299DDC11}"/>
          </ac:spMkLst>
        </pc:spChg>
        <pc:spChg chg="add mod">
          <ac:chgData name="Bianca Naomy" userId="abf68bbe-83b2-4c0b-9325-ce8a54e5fdae" providerId="ADAL" clId="{3F3AB1CD-0917-42A7-B7D6-2663540B048D}" dt="2022-03-03T20:12:16.037" v="1409" actId="1076"/>
          <ac:spMkLst>
            <pc:docMk/>
            <pc:sldMk cId="4180197559" sldId="2146846071"/>
            <ac:spMk id="5" creationId="{D9850037-D7A2-457D-9ADB-F7F097BCB3B1}"/>
          </ac:spMkLst>
        </pc:spChg>
        <pc:spChg chg="add del mod">
          <ac:chgData name="Bianca Naomy" userId="abf68bbe-83b2-4c0b-9325-ce8a54e5fdae" providerId="ADAL" clId="{3F3AB1CD-0917-42A7-B7D6-2663540B048D}" dt="2022-03-03T20:52:51.744" v="1712" actId="478"/>
          <ac:spMkLst>
            <pc:docMk/>
            <pc:sldMk cId="4180197559" sldId="2146846071"/>
            <ac:spMk id="6" creationId="{3AB26AD5-1E43-44D0-A679-44D49EF8AA49}"/>
          </ac:spMkLst>
        </pc:spChg>
        <pc:spChg chg="add mod">
          <ac:chgData name="Bianca Naomy" userId="abf68bbe-83b2-4c0b-9325-ce8a54e5fdae" providerId="ADAL" clId="{3F3AB1CD-0917-42A7-B7D6-2663540B048D}" dt="2022-03-03T20:11:58.363" v="1406" actId="14100"/>
          <ac:spMkLst>
            <pc:docMk/>
            <pc:sldMk cId="4180197559" sldId="2146846071"/>
            <ac:spMk id="7" creationId="{0E90C0D4-D0BD-45D6-BBF0-7A575360FB1A}"/>
          </ac:spMkLst>
        </pc:spChg>
        <pc:spChg chg="add del mod">
          <ac:chgData name="Bianca Naomy" userId="abf68bbe-83b2-4c0b-9325-ce8a54e5fdae" providerId="ADAL" clId="{3F3AB1CD-0917-42A7-B7D6-2663540B048D}" dt="2022-03-04T12:58:58.641" v="1792"/>
          <ac:spMkLst>
            <pc:docMk/>
            <pc:sldMk cId="4180197559" sldId="2146846071"/>
            <ac:spMk id="9" creationId="{D6CFA3F3-047A-4E73-9D8A-D29542D70083}"/>
          </ac:spMkLst>
        </pc:spChg>
        <pc:spChg chg="add mod">
          <ac:chgData name="Bianca Naomy" userId="abf68bbe-83b2-4c0b-9325-ce8a54e5fdae" providerId="ADAL" clId="{3F3AB1CD-0917-42A7-B7D6-2663540B048D}" dt="2022-03-04T13:02:12.841" v="1833" actId="1076"/>
          <ac:spMkLst>
            <pc:docMk/>
            <pc:sldMk cId="4180197559" sldId="2146846071"/>
            <ac:spMk id="10" creationId="{A5B12F80-DF72-4288-96C7-59EB50B81B32}"/>
          </ac:spMkLst>
        </pc:spChg>
        <pc:spChg chg="add del mod">
          <ac:chgData name="Bianca Naomy" userId="abf68bbe-83b2-4c0b-9325-ce8a54e5fdae" providerId="ADAL" clId="{3F3AB1CD-0917-42A7-B7D6-2663540B048D}" dt="2022-03-04T12:57:08.555" v="1747" actId="478"/>
          <ac:spMkLst>
            <pc:docMk/>
            <pc:sldMk cId="4180197559" sldId="2146846071"/>
            <ac:spMk id="11" creationId="{1D421913-A0F5-4E4A-8C8D-8CBBFFE0560F}"/>
          </ac:spMkLst>
        </pc:spChg>
        <pc:spChg chg="add mod">
          <ac:chgData name="Bianca Naomy" userId="abf68bbe-83b2-4c0b-9325-ce8a54e5fdae" providerId="ADAL" clId="{3F3AB1CD-0917-42A7-B7D6-2663540B048D}" dt="2022-03-03T20:12:19.994" v="1410" actId="1076"/>
          <ac:spMkLst>
            <pc:docMk/>
            <pc:sldMk cId="4180197559" sldId="2146846071"/>
            <ac:spMk id="12" creationId="{1503C958-514F-4ADD-B389-5EE838BE0E8D}"/>
          </ac:spMkLst>
        </pc:spChg>
        <pc:spChg chg="add del mod">
          <ac:chgData name="Bianca Naomy" userId="abf68bbe-83b2-4c0b-9325-ce8a54e5fdae" providerId="ADAL" clId="{3F3AB1CD-0917-42A7-B7D6-2663540B048D}" dt="2022-03-04T13:56:28.625" v="2080" actId="21"/>
          <ac:spMkLst>
            <pc:docMk/>
            <pc:sldMk cId="4180197559" sldId="2146846071"/>
            <ac:spMk id="13" creationId="{A56B2EE7-2DBD-4A3B-A6FD-8C53789A3B10}"/>
          </ac:spMkLst>
        </pc:spChg>
        <pc:spChg chg="add del mod">
          <ac:chgData name="Bianca Naomy" userId="abf68bbe-83b2-4c0b-9325-ce8a54e5fdae" providerId="ADAL" clId="{3F3AB1CD-0917-42A7-B7D6-2663540B048D}" dt="2022-03-03T20:18:27.033" v="1480" actId="478"/>
          <ac:spMkLst>
            <pc:docMk/>
            <pc:sldMk cId="4180197559" sldId="2146846071"/>
            <ac:spMk id="13" creationId="{F314461F-FF70-4FDD-A741-B502C4495A9E}"/>
          </ac:spMkLst>
        </pc:spChg>
        <pc:spChg chg="add del mod">
          <ac:chgData name="Bianca Naomy" userId="abf68bbe-83b2-4c0b-9325-ce8a54e5fdae" providerId="ADAL" clId="{3F3AB1CD-0917-42A7-B7D6-2663540B048D}" dt="2022-03-04T12:58:58.639" v="1790" actId="478"/>
          <ac:spMkLst>
            <pc:docMk/>
            <pc:sldMk cId="4180197559" sldId="2146846071"/>
            <ac:spMk id="14" creationId="{D8765F51-A91F-41A2-BA58-C1866FD9464B}"/>
          </ac:spMkLst>
        </pc:spChg>
        <pc:spChg chg="add mod">
          <ac:chgData name="Bianca Naomy" userId="abf68bbe-83b2-4c0b-9325-ce8a54e5fdae" providerId="ADAL" clId="{3F3AB1CD-0917-42A7-B7D6-2663540B048D}" dt="2022-03-03T20:18:52.959" v="1482"/>
          <ac:spMkLst>
            <pc:docMk/>
            <pc:sldMk cId="4180197559" sldId="2146846071"/>
            <ac:spMk id="15" creationId="{F9729067-8D75-46DC-9DB1-D16553EDFB15}"/>
          </ac:spMkLst>
        </pc:spChg>
        <pc:picChg chg="add del mod">
          <ac:chgData name="Bianca Naomy" userId="abf68bbe-83b2-4c0b-9325-ce8a54e5fdae" providerId="ADAL" clId="{3F3AB1CD-0917-42A7-B7D6-2663540B048D}" dt="2022-03-03T13:35:14.439" v="117" actId="478"/>
          <ac:picMkLst>
            <pc:docMk/>
            <pc:sldMk cId="4180197559" sldId="2146846071"/>
            <ac:picMk id="2" creationId="{3A6E22DD-C012-4944-A95D-6B53D459499F}"/>
          </ac:picMkLst>
        </pc:picChg>
      </pc:sldChg>
      <pc:sldChg chg="addSp modSp new mod">
        <pc:chgData name="Bianca Naomy" userId="abf68bbe-83b2-4c0b-9325-ce8a54e5fdae" providerId="ADAL" clId="{3F3AB1CD-0917-42A7-B7D6-2663540B048D}" dt="2022-03-03T13:22:20.436" v="75" actId="20577"/>
        <pc:sldMkLst>
          <pc:docMk/>
          <pc:sldMk cId="861993220" sldId="2146846072"/>
        </pc:sldMkLst>
        <pc:spChg chg="add mod">
          <ac:chgData name="Bianca Naomy" userId="abf68bbe-83b2-4c0b-9325-ce8a54e5fdae" providerId="ADAL" clId="{3F3AB1CD-0917-42A7-B7D6-2663540B048D}" dt="2022-03-03T13:22:20.436" v="75" actId="20577"/>
          <ac:spMkLst>
            <pc:docMk/>
            <pc:sldMk cId="861993220" sldId="2146846072"/>
            <ac:spMk id="4" creationId="{3FEB7708-A218-44DF-B60A-E237B90FD547}"/>
          </ac:spMkLst>
        </pc:spChg>
        <pc:picChg chg="add mod">
          <ac:chgData name="Bianca Naomy" userId="abf68bbe-83b2-4c0b-9325-ce8a54e5fdae" providerId="ADAL" clId="{3F3AB1CD-0917-42A7-B7D6-2663540B048D}" dt="2022-03-03T13:21:59.037" v="36" actId="1076"/>
          <ac:picMkLst>
            <pc:docMk/>
            <pc:sldMk cId="861993220" sldId="2146846072"/>
            <ac:picMk id="3" creationId="{7168DB65-9732-4419-8B0E-975018FFAED8}"/>
          </ac:picMkLst>
        </pc:picChg>
      </pc:sldChg>
      <pc:sldChg chg="addSp delSp modSp add mod">
        <pc:chgData name="Bianca Naomy" userId="abf68bbe-83b2-4c0b-9325-ce8a54e5fdae" providerId="ADAL" clId="{3F3AB1CD-0917-42A7-B7D6-2663540B048D}" dt="2022-03-04T13:27:34.753" v="1937" actId="1076"/>
        <pc:sldMkLst>
          <pc:docMk/>
          <pc:sldMk cId="1248321786" sldId="2146846073"/>
        </pc:sldMkLst>
        <pc:graphicFrameChg chg="add del modGraphic">
          <ac:chgData name="Bianca Naomy" userId="abf68bbe-83b2-4c0b-9325-ce8a54e5fdae" providerId="ADAL" clId="{3F3AB1CD-0917-42A7-B7D6-2663540B048D}" dt="2022-03-03T13:34:55.427" v="79" actId="27309"/>
          <ac:graphicFrameMkLst>
            <pc:docMk/>
            <pc:sldMk cId="1248321786" sldId="2146846073"/>
            <ac:graphicFrameMk id="5" creationId="{F4DC2F1B-B72F-4E06-9AF9-171B1C5FD911}"/>
          </ac:graphicFrameMkLst>
        </pc:graphicFrameChg>
        <pc:picChg chg="mod">
          <ac:chgData name="Bianca Naomy" userId="abf68bbe-83b2-4c0b-9325-ce8a54e5fdae" providerId="ADAL" clId="{3F3AB1CD-0917-42A7-B7D6-2663540B048D}" dt="2022-03-04T13:27:34.753" v="1937" actId="1076"/>
          <ac:picMkLst>
            <pc:docMk/>
            <pc:sldMk cId="1248321786" sldId="2146846073"/>
            <ac:picMk id="2" creationId="{3A6E22DD-C012-4944-A95D-6B53D459499F}"/>
          </ac:picMkLst>
        </pc:picChg>
      </pc:sldChg>
      <pc:sldChg chg="addSp delSp modSp add mod">
        <pc:chgData name="Bianca Naomy" userId="abf68bbe-83b2-4c0b-9325-ce8a54e5fdae" providerId="ADAL" clId="{3F3AB1CD-0917-42A7-B7D6-2663540B048D}" dt="2022-03-03T19:11:36.625" v="971" actId="1076"/>
        <pc:sldMkLst>
          <pc:docMk/>
          <pc:sldMk cId="3012924003" sldId="2146846074"/>
        </pc:sldMkLst>
        <pc:spChg chg="mod">
          <ac:chgData name="Bianca Naomy" userId="abf68bbe-83b2-4c0b-9325-ce8a54e5fdae" providerId="ADAL" clId="{3F3AB1CD-0917-42A7-B7D6-2663540B048D}" dt="2022-03-03T13:59:03.143" v="158" actId="20577"/>
          <ac:spMkLst>
            <pc:docMk/>
            <pc:sldMk cId="3012924003" sldId="2146846074"/>
            <ac:spMk id="3" creationId="{D27D7BD4-79A4-4F74-AEDD-B6DF3D38FA7F}"/>
          </ac:spMkLst>
        </pc:spChg>
        <pc:spChg chg="mod">
          <ac:chgData name="Bianca Naomy" userId="abf68bbe-83b2-4c0b-9325-ce8a54e5fdae" providerId="ADAL" clId="{3F3AB1CD-0917-42A7-B7D6-2663540B048D}" dt="2022-03-03T19:11:14.488" v="968" actId="13926"/>
          <ac:spMkLst>
            <pc:docMk/>
            <pc:sldMk cId="3012924003" sldId="2146846074"/>
            <ac:spMk id="4" creationId="{7504F8EF-3D40-4067-9FEF-5028299DDC11}"/>
          </ac:spMkLst>
        </pc:spChg>
        <pc:spChg chg="del">
          <ac:chgData name="Bianca Naomy" userId="abf68bbe-83b2-4c0b-9325-ce8a54e5fdae" providerId="ADAL" clId="{3F3AB1CD-0917-42A7-B7D6-2663540B048D}" dt="2022-03-03T13:58:49.827" v="152" actId="478"/>
          <ac:spMkLst>
            <pc:docMk/>
            <pc:sldMk cId="3012924003" sldId="2146846074"/>
            <ac:spMk id="5" creationId="{D9850037-D7A2-457D-9ADB-F7F097BCB3B1}"/>
          </ac:spMkLst>
        </pc:spChg>
        <pc:spChg chg="add del mod">
          <ac:chgData name="Bianca Naomy" userId="abf68bbe-83b2-4c0b-9325-ce8a54e5fdae" providerId="ADAL" clId="{3F3AB1CD-0917-42A7-B7D6-2663540B048D}" dt="2022-03-03T14:07:39.376" v="196" actId="478"/>
          <ac:spMkLst>
            <pc:docMk/>
            <pc:sldMk cId="3012924003" sldId="2146846074"/>
            <ac:spMk id="6" creationId="{71A25CD7-6CCF-4E2A-9B2D-BB50E91B49CE}"/>
          </ac:spMkLst>
        </pc:spChg>
        <pc:spChg chg="add del mod">
          <ac:chgData name="Bianca Naomy" userId="abf68bbe-83b2-4c0b-9325-ce8a54e5fdae" providerId="ADAL" clId="{3F3AB1CD-0917-42A7-B7D6-2663540B048D}" dt="2022-03-03T14:09:45.136" v="200" actId="478"/>
          <ac:spMkLst>
            <pc:docMk/>
            <pc:sldMk cId="3012924003" sldId="2146846074"/>
            <ac:spMk id="7" creationId="{90D679BB-4EAC-4176-BF37-AEC430688F70}"/>
          </ac:spMkLst>
        </pc:spChg>
        <pc:spChg chg="add del mod">
          <ac:chgData name="Bianca Naomy" userId="abf68bbe-83b2-4c0b-9325-ce8a54e5fdae" providerId="ADAL" clId="{3F3AB1CD-0917-42A7-B7D6-2663540B048D}" dt="2022-03-03T14:14:33.038" v="281" actId="21"/>
          <ac:spMkLst>
            <pc:docMk/>
            <pc:sldMk cId="3012924003" sldId="2146846074"/>
            <ac:spMk id="10" creationId="{D1BB479B-912D-40FE-9194-9CBEE2F0D039}"/>
          </ac:spMkLst>
        </pc:spChg>
        <pc:spChg chg="add mod">
          <ac:chgData name="Bianca Naomy" userId="abf68bbe-83b2-4c0b-9325-ce8a54e5fdae" providerId="ADAL" clId="{3F3AB1CD-0917-42A7-B7D6-2663540B048D}" dt="2022-03-03T19:04:39.950" v="742" actId="403"/>
          <ac:spMkLst>
            <pc:docMk/>
            <pc:sldMk cId="3012924003" sldId="2146846074"/>
            <ac:spMk id="11" creationId="{B424CB56-823B-445C-9577-2CB6DDE1B33B}"/>
          </ac:spMkLst>
        </pc:spChg>
        <pc:spChg chg="add del mod">
          <ac:chgData name="Bianca Naomy" userId="abf68bbe-83b2-4c0b-9325-ce8a54e5fdae" providerId="ADAL" clId="{3F3AB1CD-0917-42A7-B7D6-2663540B048D}" dt="2022-03-03T19:05:28.440" v="748" actId="21"/>
          <ac:spMkLst>
            <pc:docMk/>
            <pc:sldMk cId="3012924003" sldId="2146846074"/>
            <ac:spMk id="12" creationId="{FD33B88A-A05A-4B52-8933-6CDB1C270F8B}"/>
          </ac:spMkLst>
        </pc:spChg>
        <pc:picChg chg="add del mod">
          <ac:chgData name="Bianca Naomy" userId="abf68bbe-83b2-4c0b-9325-ce8a54e5fdae" providerId="ADAL" clId="{3F3AB1CD-0917-42A7-B7D6-2663540B048D}" dt="2022-03-03T14:11:01.195" v="214" actId="478"/>
          <ac:picMkLst>
            <pc:docMk/>
            <pc:sldMk cId="3012924003" sldId="2146846074"/>
            <ac:picMk id="9" creationId="{31557504-39A4-4AF3-8021-311313937D70}"/>
          </ac:picMkLst>
        </pc:picChg>
        <pc:picChg chg="add mod">
          <ac:chgData name="Bianca Naomy" userId="abf68bbe-83b2-4c0b-9325-ce8a54e5fdae" providerId="ADAL" clId="{3F3AB1CD-0917-42A7-B7D6-2663540B048D}" dt="2022-03-03T19:11:36.625" v="971" actId="1076"/>
          <ac:picMkLst>
            <pc:docMk/>
            <pc:sldMk cId="3012924003" sldId="2146846074"/>
            <ac:picMk id="14" creationId="{8E5BFA40-0BCE-44A9-938F-7C22F35BAAEB}"/>
          </ac:picMkLst>
        </pc:picChg>
      </pc:sldChg>
      <pc:sldChg chg="addSp delSp modSp add mod modNotesTx">
        <pc:chgData name="Bianca Naomy" userId="abf68bbe-83b2-4c0b-9325-ce8a54e5fdae" providerId="ADAL" clId="{3F3AB1CD-0917-42A7-B7D6-2663540B048D}" dt="2022-03-03T14:36:10.896" v="741" actId="5793"/>
        <pc:sldMkLst>
          <pc:docMk/>
          <pc:sldMk cId="4122836090" sldId="2146846075"/>
        </pc:sldMkLst>
        <pc:spChg chg="del">
          <ac:chgData name="Bianca Naomy" userId="abf68bbe-83b2-4c0b-9325-ce8a54e5fdae" providerId="ADAL" clId="{3F3AB1CD-0917-42A7-B7D6-2663540B048D}" dt="2022-03-03T14:03:33.186" v="175" actId="478"/>
          <ac:spMkLst>
            <pc:docMk/>
            <pc:sldMk cId="4122836090" sldId="2146846075"/>
            <ac:spMk id="4" creationId="{7504F8EF-3D40-4067-9FEF-5028299DDC11}"/>
          </ac:spMkLst>
        </pc:spChg>
        <pc:spChg chg="del">
          <ac:chgData name="Bianca Naomy" userId="abf68bbe-83b2-4c0b-9325-ce8a54e5fdae" providerId="ADAL" clId="{3F3AB1CD-0917-42A7-B7D6-2663540B048D}" dt="2022-03-03T14:03:37.193" v="178" actId="478"/>
          <ac:spMkLst>
            <pc:docMk/>
            <pc:sldMk cId="4122836090" sldId="2146846075"/>
            <ac:spMk id="6" creationId="{71A25CD7-6CCF-4E2A-9B2D-BB50E91B49CE}"/>
          </ac:spMkLst>
        </pc:spChg>
        <pc:spChg chg="add mod">
          <ac:chgData name="Bianca Naomy" userId="abf68bbe-83b2-4c0b-9325-ce8a54e5fdae" providerId="ADAL" clId="{3F3AB1CD-0917-42A7-B7D6-2663540B048D}" dt="2022-03-03T14:18:42.994" v="335" actId="1076"/>
          <ac:spMkLst>
            <pc:docMk/>
            <pc:sldMk cId="4122836090" sldId="2146846075"/>
            <ac:spMk id="11" creationId="{F74AEC07-E85F-4073-8C19-F3127E279015}"/>
          </ac:spMkLst>
        </pc:spChg>
        <pc:spChg chg="add mod">
          <ac:chgData name="Bianca Naomy" userId="abf68bbe-83b2-4c0b-9325-ce8a54e5fdae" providerId="ADAL" clId="{3F3AB1CD-0917-42A7-B7D6-2663540B048D}" dt="2022-03-03T14:18:45.917" v="338" actId="20577"/>
          <ac:spMkLst>
            <pc:docMk/>
            <pc:sldMk cId="4122836090" sldId="2146846075"/>
            <ac:spMk id="12" creationId="{91CECFEF-FEFA-4593-A199-D8A9623C8C5B}"/>
          </ac:spMkLst>
        </pc:spChg>
        <pc:spChg chg="add mod">
          <ac:chgData name="Bianca Naomy" userId="abf68bbe-83b2-4c0b-9325-ce8a54e5fdae" providerId="ADAL" clId="{3F3AB1CD-0917-42A7-B7D6-2663540B048D}" dt="2022-03-03T14:18:00.113" v="309" actId="1076"/>
          <ac:spMkLst>
            <pc:docMk/>
            <pc:sldMk cId="4122836090" sldId="2146846075"/>
            <ac:spMk id="13" creationId="{0CC1DEC0-02FA-4074-9C99-500B9CED8FE2}"/>
          </ac:spMkLst>
        </pc:spChg>
        <pc:picChg chg="add mod modCrop">
          <ac:chgData name="Bianca Naomy" userId="abf68bbe-83b2-4c0b-9325-ce8a54e5fdae" providerId="ADAL" clId="{3F3AB1CD-0917-42A7-B7D6-2663540B048D}" dt="2022-03-03T14:17:01.861" v="298" actId="1076"/>
          <ac:picMkLst>
            <pc:docMk/>
            <pc:sldMk cId="4122836090" sldId="2146846075"/>
            <ac:picMk id="5" creationId="{D8722CF6-3ED7-4398-AB7D-8776BF3E6FC1}"/>
          </ac:picMkLst>
        </pc:picChg>
        <pc:picChg chg="add mod">
          <ac:chgData name="Bianca Naomy" userId="abf68bbe-83b2-4c0b-9325-ce8a54e5fdae" providerId="ADAL" clId="{3F3AB1CD-0917-42A7-B7D6-2663540B048D}" dt="2022-03-03T14:17:10.673" v="303" actId="1076"/>
          <ac:picMkLst>
            <pc:docMk/>
            <pc:sldMk cId="4122836090" sldId="2146846075"/>
            <ac:picMk id="8" creationId="{59B7F028-0E95-4751-B4F9-07517E7E2491}"/>
          </ac:picMkLst>
        </pc:picChg>
        <pc:picChg chg="add mod">
          <ac:chgData name="Bianca Naomy" userId="abf68bbe-83b2-4c0b-9325-ce8a54e5fdae" providerId="ADAL" clId="{3F3AB1CD-0917-42A7-B7D6-2663540B048D}" dt="2022-03-03T14:16:59.987" v="297" actId="1076"/>
          <ac:picMkLst>
            <pc:docMk/>
            <pc:sldMk cId="4122836090" sldId="2146846075"/>
            <ac:picMk id="10" creationId="{846E2FC0-77AB-42F1-8A0F-2DFD6764B5D6}"/>
          </ac:picMkLst>
        </pc:picChg>
      </pc:sldChg>
      <pc:sldChg chg="addSp delSp modSp add mod">
        <pc:chgData name="Bianca Naomy" userId="abf68bbe-83b2-4c0b-9325-ce8a54e5fdae" providerId="ADAL" clId="{3F3AB1CD-0917-42A7-B7D6-2663540B048D}" dt="2022-03-03T19:13:15.489" v="1017" actId="1076"/>
        <pc:sldMkLst>
          <pc:docMk/>
          <pc:sldMk cId="1404460967" sldId="2146846076"/>
        </pc:sldMkLst>
        <pc:spChg chg="del">
          <ac:chgData name="Bianca Naomy" userId="abf68bbe-83b2-4c0b-9325-ce8a54e5fdae" providerId="ADAL" clId="{3F3AB1CD-0917-42A7-B7D6-2663540B048D}" dt="2022-03-03T14:07:32.698" v="194" actId="478"/>
          <ac:spMkLst>
            <pc:docMk/>
            <pc:sldMk cId="1404460967" sldId="2146846076"/>
            <ac:spMk id="4" creationId="{7504F8EF-3D40-4067-9FEF-5028299DDC11}"/>
          </ac:spMkLst>
        </pc:spChg>
        <pc:spChg chg="mod">
          <ac:chgData name="Bianca Naomy" userId="abf68bbe-83b2-4c0b-9325-ce8a54e5fdae" providerId="ADAL" clId="{3F3AB1CD-0917-42A7-B7D6-2663540B048D}" dt="2022-03-03T19:12:04.641" v="995" actId="1076"/>
          <ac:spMkLst>
            <pc:docMk/>
            <pc:sldMk cId="1404460967" sldId="2146846076"/>
            <ac:spMk id="6" creationId="{71A25CD7-6CCF-4E2A-9B2D-BB50E91B49CE}"/>
          </ac:spMkLst>
        </pc:spChg>
        <pc:spChg chg="add mod">
          <ac:chgData name="Bianca Naomy" userId="abf68bbe-83b2-4c0b-9325-ce8a54e5fdae" providerId="ADAL" clId="{3F3AB1CD-0917-42A7-B7D6-2663540B048D}" dt="2022-03-03T19:12:27.867" v="1013" actId="20577"/>
          <ac:spMkLst>
            <pc:docMk/>
            <pc:sldMk cId="1404460967" sldId="2146846076"/>
            <ac:spMk id="19" creationId="{2A37B2C1-EC96-4DAE-9234-FCB90C5F3AA4}"/>
          </ac:spMkLst>
        </pc:spChg>
        <pc:picChg chg="add mod">
          <ac:chgData name="Bianca Naomy" userId="abf68bbe-83b2-4c0b-9325-ce8a54e5fdae" providerId="ADAL" clId="{3F3AB1CD-0917-42A7-B7D6-2663540B048D}" dt="2022-03-03T19:12:04.641" v="995" actId="1076"/>
          <ac:picMkLst>
            <pc:docMk/>
            <pc:sldMk cId="1404460967" sldId="2146846076"/>
            <ac:picMk id="5" creationId="{811F8E85-77A5-4D98-AD38-895E6E8EFBEE}"/>
          </ac:picMkLst>
        </pc:picChg>
        <pc:picChg chg="add mod">
          <ac:chgData name="Bianca Naomy" userId="abf68bbe-83b2-4c0b-9325-ce8a54e5fdae" providerId="ADAL" clId="{3F3AB1CD-0917-42A7-B7D6-2663540B048D}" dt="2022-03-03T19:12:04.641" v="995" actId="1076"/>
          <ac:picMkLst>
            <pc:docMk/>
            <pc:sldMk cId="1404460967" sldId="2146846076"/>
            <ac:picMk id="8" creationId="{85302F0A-E4AF-4909-B628-B62708D9C850}"/>
          </ac:picMkLst>
        </pc:picChg>
        <pc:picChg chg="add mod">
          <ac:chgData name="Bianca Naomy" userId="abf68bbe-83b2-4c0b-9325-ce8a54e5fdae" providerId="ADAL" clId="{3F3AB1CD-0917-42A7-B7D6-2663540B048D}" dt="2022-03-03T19:12:04.641" v="995" actId="1076"/>
          <ac:picMkLst>
            <pc:docMk/>
            <pc:sldMk cId="1404460967" sldId="2146846076"/>
            <ac:picMk id="10" creationId="{BDD97E9B-D5F7-4013-9EF2-6936A1DDF3E2}"/>
          </ac:picMkLst>
        </pc:picChg>
        <pc:picChg chg="add mod">
          <ac:chgData name="Bianca Naomy" userId="abf68bbe-83b2-4c0b-9325-ce8a54e5fdae" providerId="ADAL" clId="{3F3AB1CD-0917-42A7-B7D6-2663540B048D}" dt="2022-03-03T19:12:04.641" v="995" actId="1076"/>
          <ac:picMkLst>
            <pc:docMk/>
            <pc:sldMk cId="1404460967" sldId="2146846076"/>
            <ac:picMk id="12" creationId="{4E195C52-9FA5-4D6C-97D7-B043740A4DE5}"/>
          </ac:picMkLst>
        </pc:picChg>
        <pc:picChg chg="add mod">
          <ac:chgData name="Bianca Naomy" userId="abf68bbe-83b2-4c0b-9325-ce8a54e5fdae" providerId="ADAL" clId="{3F3AB1CD-0917-42A7-B7D6-2663540B048D}" dt="2022-03-03T19:12:04.641" v="995" actId="1076"/>
          <ac:picMkLst>
            <pc:docMk/>
            <pc:sldMk cId="1404460967" sldId="2146846076"/>
            <ac:picMk id="14" creationId="{68D871C3-5FE8-40F1-B8CB-9CDF1B98D108}"/>
          </ac:picMkLst>
        </pc:picChg>
        <pc:picChg chg="add mod">
          <ac:chgData name="Bianca Naomy" userId="abf68bbe-83b2-4c0b-9325-ce8a54e5fdae" providerId="ADAL" clId="{3F3AB1CD-0917-42A7-B7D6-2663540B048D}" dt="2022-03-03T19:12:04.641" v="995" actId="1076"/>
          <ac:picMkLst>
            <pc:docMk/>
            <pc:sldMk cId="1404460967" sldId="2146846076"/>
            <ac:picMk id="16" creationId="{8DBCA058-0EA8-49CC-BCF3-0EA9C0DBDACE}"/>
          </ac:picMkLst>
        </pc:picChg>
        <pc:picChg chg="add mod">
          <ac:chgData name="Bianca Naomy" userId="abf68bbe-83b2-4c0b-9325-ce8a54e5fdae" providerId="ADAL" clId="{3F3AB1CD-0917-42A7-B7D6-2663540B048D}" dt="2022-03-03T19:12:04.641" v="995" actId="1076"/>
          <ac:picMkLst>
            <pc:docMk/>
            <pc:sldMk cId="1404460967" sldId="2146846076"/>
            <ac:picMk id="18" creationId="{C3689C78-4414-4D62-954B-BE6D1BB4644D}"/>
          </ac:picMkLst>
        </pc:picChg>
        <pc:picChg chg="add mod">
          <ac:chgData name="Bianca Naomy" userId="abf68bbe-83b2-4c0b-9325-ce8a54e5fdae" providerId="ADAL" clId="{3F3AB1CD-0917-42A7-B7D6-2663540B048D}" dt="2022-03-03T19:13:15.489" v="1017" actId="1076"/>
          <ac:picMkLst>
            <pc:docMk/>
            <pc:sldMk cId="1404460967" sldId="2146846076"/>
            <ac:picMk id="20" creationId="{C556D62C-2AC4-4726-B5EE-3E1D567FA982}"/>
          </ac:picMkLst>
        </pc:picChg>
      </pc:sldChg>
      <pc:sldChg chg="addSp delSp modSp add mod">
        <pc:chgData name="Bianca Naomy" userId="abf68bbe-83b2-4c0b-9325-ce8a54e5fdae" providerId="ADAL" clId="{3F3AB1CD-0917-42A7-B7D6-2663540B048D}" dt="2022-03-04T19:21:41.026" v="2492" actId="1076"/>
        <pc:sldMkLst>
          <pc:docMk/>
          <pc:sldMk cId="1683932540" sldId="2146846077"/>
        </pc:sldMkLst>
        <pc:spChg chg="del">
          <ac:chgData name="Bianca Naomy" userId="abf68bbe-83b2-4c0b-9325-ce8a54e5fdae" providerId="ADAL" clId="{3F3AB1CD-0917-42A7-B7D6-2663540B048D}" dt="2022-03-03T14:10:50.885" v="211" actId="478"/>
          <ac:spMkLst>
            <pc:docMk/>
            <pc:sldMk cId="1683932540" sldId="2146846077"/>
            <ac:spMk id="4" creationId="{7504F8EF-3D40-4067-9FEF-5028299DDC11}"/>
          </ac:spMkLst>
        </pc:spChg>
        <pc:spChg chg="add mod">
          <ac:chgData name="Bianca Naomy" userId="abf68bbe-83b2-4c0b-9325-ce8a54e5fdae" providerId="ADAL" clId="{3F3AB1CD-0917-42A7-B7D6-2663540B048D}" dt="2022-03-03T19:10:42.616" v="964" actId="207"/>
          <ac:spMkLst>
            <pc:docMk/>
            <pc:sldMk cId="1683932540" sldId="2146846077"/>
            <ac:spMk id="5" creationId="{32B37483-28FB-4EC9-A968-6B7F946499B7}"/>
          </ac:spMkLst>
        </pc:spChg>
        <pc:spChg chg="add mod">
          <ac:chgData name="Bianca Naomy" userId="abf68bbe-83b2-4c0b-9325-ce8a54e5fdae" providerId="ADAL" clId="{3F3AB1CD-0917-42A7-B7D6-2663540B048D}" dt="2022-03-04T19:21:19.501" v="2486" actId="1076"/>
          <ac:spMkLst>
            <pc:docMk/>
            <pc:sldMk cId="1683932540" sldId="2146846077"/>
            <ac:spMk id="6" creationId="{BC432FFE-BFF2-481D-B777-8DA18A3B59B7}"/>
          </ac:spMkLst>
        </pc:spChg>
        <pc:spChg chg="add mod">
          <ac:chgData name="Bianca Naomy" userId="abf68bbe-83b2-4c0b-9325-ce8a54e5fdae" providerId="ADAL" clId="{3F3AB1CD-0917-42A7-B7D6-2663540B048D}" dt="2022-03-03T19:09:00.630" v="961"/>
          <ac:spMkLst>
            <pc:docMk/>
            <pc:sldMk cId="1683932540" sldId="2146846077"/>
            <ac:spMk id="7" creationId="{01728192-2154-4A12-AC22-FE1F1FCD3B7B}"/>
          </ac:spMkLst>
        </pc:spChg>
        <pc:spChg chg="add mod">
          <ac:chgData name="Bianca Naomy" userId="abf68bbe-83b2-4c0b-9325-ce8a54e5fdae" providerId="ADAL" clId="{3F3AB1CD-0917-42A7-B7D6-2663540B048D}" dt="2022-03-04T19:21:41.026" v="2492" actId="1076"/>
          <ac:spMkLst>
            <pc:docMk/>
            <pc:sldMk cId="1683932540" sldId="2146846077"/>
            <ac:spMk id="8" creationId="{E9E050DD-49B2-485B-8526-53F8F73DA408}"/>
          </ac:spMkLst>
        </pc:spChg>
        <pc:picChg chg="mod">
          <ac:chgData name="Bianca Naomy" userId="abf68bbe-83b2-4c0b-9325-ce8a54e5fdae" providerId="ADAL" clId="{3F3AB1CD-0917-42A7-B7D6-2663540B048D}" dt="2022-03-04T19:21:38.395" v="2491" actId="1076"/>
          <ac:picMkLst>
            <pc:docMk/>
            <pc:sldMk cId="1683932540" sldId="2146846077"/>
            <ac:picMk id="9" creationId="{31557504-39A4-4AF3-8021-311313937D70}"/>
          </ac:picMkLst>
        </pc:picChg>
      </pc:sldChg>
      <pc:sldChg chg="delSp modSp add mod">
        <pc:chgData name="Bianca Naomy" userId="abf68bbe-83b2-4c0b-9325-ce8a54e5fdae" providerId="ADAL" clId="{3F3AB1CD-0917-42A7-B7D6-2663540B048D}" dt="2022-03-03T19:21:43.554" v="1103" actId="478"/>
        <pc:sldMkLst>
          <pc:docMk/>
          <pc:sldMk cId="3926793904" sldId="2146846078"/>
        </pc:sldMkLst>
        <pc:spChg chg="mod">
          <ac:chgData name="Bianca Naomy" userId="abf68bbe-83b2-4c0b-9325-ce8a54e5fdae" providerId="ADAL" clId="{3F3AB1CD-0917-42A7-B7D6-2663540B048D}" dt="2022-03-03T19:20:45.043" v="1102" actId="20577"/>
          <ac:spMkLst>
            <pc:docMk/>
            <pc:sldMk cId="3926793904" sldId="2146846078"/>
            <ac:spMk id="3" creationId="{D27D7BD4-79A4-4F74-AEDD-B6DF3D38FA7F}"/>
          </ac:spMkLst>
        </pc:spChg>
        <pc:spChg chg="del">
          <ac:chgData name="Bianca Naomy" userId="abf68bbe-83b2-4c0b-9325-ce8a54e5fdae" providerId="ADAL" clId="{3F3AB1CD-0917-42A7-B7D6-2663540B048D}" dt="2022-03-03T19:20:17.417" v="1057" actId="478"/>
          <ac:spMkLst>
            <pc:docMk/>
            <pc:sldMk cId="3926793904" sldId="2146846078"/>
            <ac:spMk id="4" creationId="{7504F8EF-3D40-4067-9FEF-5028299DDC11}"/>
          </ac:spMkLst>
        </pc:spChg>
        <pc:spChg chg="del">
          <ac:chgData name="Bianca Naomy" userId="abf68bbe-83b2-4c0b-9325-ce8a54e5fdae" providerId="ADAL" clId="{3F3AB1CD-0917-42A7-B7D6-2663540B048D}" dt="2022-03-03T19:20:17.417" v="1057" actId="478"/>
          <ac:spMkLst>
            <pc:docMk/>
            <pc:sldMk cId="3926793904" sldId="2146846078"/>
            <ac:spMk id="5" creationId="{D9850037-D7A2-457D-9ADB-F7F097BCB3B1}"/>
          </ac:spMkLst>
        </pc:spChg>
        <pc:spChg chg="del">
          <ac:chgData name="Bianca Naomy" userId="abf68bbe-83b2-4c0b-9325-ce8a54e5fdae" providerId="ADAL" clId="{3F3AB1CD-0917-42A7-B7D6-2663540B048D}" dt="2022-03-03T19:21:43.554" v="1103" actId="478"/>
          <ac:spMkLst>
            <pc:docMk/>
            <pc:sldMk cId="3926793904" sldId="2146846078"/>
            <ac:spMk id="6" creationId="{3AB26AD5-1E43-44D0-A679-44D49EF8AA49}"/>
          </ac:spMkLst>
        </pc:spChg>
        <pc:spChg chg="del">
          <ac:chgData name="Bianca Naomy" userId="abf68bbe-83b2-4c0b-9325-ce8a54e5fdae" providerId="ADAL" clId="{3F3AB1CD-0917-42A7-B7D6-2663540B048D}" dt="2022-03-03T19:20:17.417" v="1057" actId="478"/>
          <ac:spMkLst>
            <pc:docMk/>
            <pc:sldMk cId="3926793904" sldId="2146846078"/>
            <ac:spMk id="7" creationId="{0E90C0D4-D0BD-45D6-BBF0-7A575360FB1A}"/>
          </ac:spMkLst>
        </pc:spChg>
      </pc:sldChg>
      <pc:sldChg chg="addSp delSp modSp add mod ord">
        <pc:chgData name="Bianca Naomy" userId="abf68bbe-83b2-4c0b-9325-ce8a54e5fdae" providerId="ADAL" clId="{3F3AB1CD-0917-42A7-B7D6-2663540B048D}" dt="2022-03-04T19:24:31.099" v="2506" actId="14100"/>
        <pc:sldMkLst>
          <pc:docMk/>
          <pc:sldMk cId="2001048157" sldId="2146846079"/>
        </pc:sldMkLst>
        <pc:spChg chg="mod">
          <ac:chgData name="Bianca Naomy" userId="abf68bbe-83b2-4c0b-9325-ce8a54e5fdae" providerId="ADAL" clId="{3F3AB1CD-0917-42A7-B7D6-2663540B048D}" dt="2022-03-03T19:22:21.770" v="1122" actId="20577"/>
          <ac:spMkLst>
            <pc:docMk/>
            <pc:sldMk cId="2001048157" sldId="2146846079"/>
            <ac:spMk id="3" creationId="{D27D7BD4-79A4-4F74-AEDD-B6DF3D38FA7F}"/>
          </ac:spMkLst>
        </pc:spChg>
        <pc:spChg chg="add mod">
          <ac:chgData name="Bianca Naomy" userId="abf68bbe-83b2-4c0b-9325-ce8a54e5fdae" providerId="ADAL" clId="{3F3AB1CD-0917-42A7-B7D6-2663540B048D}" dt="2022-03-03T19:25:34.678" v="1135" actId="164"/>
          <ac:spMkLst>
            <pc:docMk/>
            <pc:sldMk cId="2001048157" sldId="2146846079"/>
            <ac:spMk id="5" creationId="{E6AFF457-506A-4813-908C-CDF1AE377851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15" creationId="{DF300BB7-909E-4C4C-88C5-30AC002B5DB2}"/>
          </ac:spMkLst>
        </pc:spChg>
        <pc:spChg chg="add mod">
          <ac:chgData name="Bianca Naomy" userId="abf68bbe-83b2-4c0b-9325-ce8a54e5fdae" providerId="ADAL" clId="{3F3AB1CD-0917-42A7-B7D6-2663540B048D}" dt="2022-03-04T13:41:38.722" v="2019" actId="164"/>
          <ac:spMkLst>
            <pc:docMk/>
            <pc:sldMk cId="2001048157" sldId="2146846079"/>
            <ac:spMk id="16" creationId="{75AE98B8-EFCD-45F3-ABF1-808DD8FA2D94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16" creationId="{99A83D5B-3686-4102-A5B9-85DF1924DF08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17" creationId="{17021F3D-7505-4D39-B1C7-D49F028B3C48}"/>
          </ac:spMkLst>
        </pc:spChg>
        <pc:spChg chg="add del 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18" creationId="{A24CE4BB-351F-4188-A687-76E214821EED}"/>
          </ac:spMkLst>
        </pc:spChg>
        <pc:spChg chg="add del mod">
          <ac:chgData name="Bianca Naomy" userId="abf68bbe-83b2-4c0b-9325-ce8a54e5fdae" providerId="ADAL" clId="{3F3AB1CD-0917-42A7-B7D6-2663540B048D}" dt="2022-03-04T13:40:09.578" v="1952" actId="22"/>
          <ac:spMkLst>
            <pc:docMk/>
            <pc:sldMk cId="2001048157" sldId="2146846079"/>
            <ac:spMk id="18" creationId="{EFF77069-C1DE-44BC-B2C0-10CAB59FF523}"/>
          </ac:spMkLst>
        </pc:spChg>
        <pc:spChg chg="add mod">
          <ac:chgData name="Bianca Naomy" userId="abf68bbe-83b2-4c0b-9325-ce8a54e5fdae" providerId="ADAL" clId="{3F3AB1CD-0917-42A7-B7D6-2663540B048D}" dt="2022-03-04T13:41:56.367" v="2033" actId="13926"/>
          <ac:spMkLst>
            <pc:docMk/>
            <pc:sldMk cId="2001048157" sldId="2146846079"/>
            <ac:spMk id="19" creationId="{061D4670-FB5D-4DD7-B1F5-4688263174E9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19" creationId="{E6474FD5-F86D-4552-846A-F3B77A6629CE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0" creationId="{DAFD1FE1-14E7-4C6E-A263-A67C7F1702AD}"/>
          </ac:spMkLst>
        </pc:spChg>
        <pc:spChg chg="add del mod">
          <ac:chgData name="Bianca Naomy" userId="abf68bbe-83b2-4c0b-9325-ce8a54e5fdae" providerId="ADAL" clId="{3F3AB1CD-0917-42A7-B7D6-2663540B048D}" dt="2022-03-04T13:56:58.540" v="2088" actId="21"/>
          <ac:spMkLst>
            <pc:docMk/>
            <pc:sldMk cId="2001048157" sldId="2146846079"/>
            <ac:spMk id="21" creationId="{29DD2777-B189-423C-9B91-E3B59C04366D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1" creationId="{626CB01B-9D21-4DD7-AF98-32A6A7B62D2C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2" creationId="{848019A4-D853-458E-8E95-2CB1DE87AA3E}"/>
          </ac:spMkLst>
        </pc:spChg>
        <pc:spChg chg="add mod">
          <ac:chgData name="Bianca Naomy" userId="abf68bbe-83b2-4c0b-9325-ce8a54e5fdae" providerId="ADAL" clId="{3F3AB1CD-0917-42A7-B7D6-2663540B048D}" dt="2022-03-04T19:24:31.099" v="2506" actId="14100"/>
          <ac:spMkLst>
            <pc:docMk/>
            <pc:sldMk cId="2001048157" sldId="2146846079"/>
            <ac:spMk id="22" creationId="{CBEC229F-1C20-4AA7-A2AE-C210AF86D9A8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3" creationId="{C770E231-A088-4485-AF0D-431638BD586F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4" creationId="{91F057B2-849D-4DFC-B9F3-BEE19950C6D7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5" creationId="{02F73EE7-A4D1-4B9A-B465-1471AEC4B9ED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6" creationId="{3853266F-D0C6-4DA2-8F61-56FE739AEACF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7" creationId="{B090D04D-30D9-45E6-B24D-4BF7F2D58DED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8" creationId="{677B1604-8701-4937-ABE9-D5F2D4BBE7DE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29" creationId="{067A5486-D113-4FBC-83AE-66ABCFF3E6E7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30" creationId="{B4B9799C-BFE8-46B7-8DCC-94CA6CA5341F}"/>
          </ac:spMkLst>
        </pc:spChg>
        <pc:spChg chg="add del mod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31" creationId="{064C91F6-65A1-4ACE-B89A-375DA7B2D572}"/>
          </ac:spMkLst>
        </pc:spChg>
        <pc:spChg chg="mod topLvl">
          <ac:chgData name="Bianca Naomy" userId="abf68bbe-83b2-4c0b-9325-ce8a54e5fdae" providerId="ADAL" clId="{3F3AB1CD-0917-42A7-B7D6-2663540B048D}" dt="2022-03-03T19:29:14.627" v="1186" actId="18245"/>
          <ac:spMkLst>
            <pc:docMk/>
            <pc:sldMk cId="2001048157" sldId="2146846079"/>
            <ac:spMk id="32" creationId="{9E71D7B3-40F2-4E27-BE21-F37A655BB71C}"/>
          </ac:spMkLst>
        </pc:spChg>
        <pc:spChg chg="add del mod">
          <ac:chgData name="Bianca Naomy" userId="abf68bbe-83b2-4c0b-9325-ce8a54e5fdae" providerId="ADAL" clId="{3F3AB1CD-0917-42A7-B7D6-2663540B048D}" dt="2022-03-03T19:29:13.239" v="1177" actId="478"/>
          <ac:spMkLst>
            <pc:docMk/>
            <pc:sldMk cId="2001048157" sldId="2146846079"/>
            <ac:spMk id="33" creationId="{3C8236B4-CC4A-46CA-A2CF-997F3CEA3D5E}"/>
          </ac:spMkLst>
        </pc:spChg>
        <pc:spChg chg="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35" creationId="{18F1BFDB-6514-4EA4-BF11-DD66085C0AFA}"/>
          </ac:spMkLst>
        </pc:spChg>
        <pc:spChg chg="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36" creationId="{582BBBBA-BEEA-4E0F-99C8-79F2DD9366BD}"/>
          </ac:spMkLst>
        </pc:spChg>
        <pc:spChg chg="add del 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37" creationId="{30055338-1700-45CF-ACA3-3FB0C77680FF}"/>
          </ac:spMkLst>
        </pc:spChg>
        <pc:spChg chg="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38" creationId="{B912A636-9329-4F0C-8A71-C3BEBC5E1F2B}"/>
          </ac:spMkLst>
        </pc:spChg>
        <pc:spChg chg="add del 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39" creationId="{1CF5C6CB-D213-45A2-84FF-CA13834F55D1}"/>
          </ac:spMkLst>
        </pc:spChg>
        <pc:spChg chg="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40" creationId="{3A9569FD-1126-4343-B084-841EEA6956F9}"/>
          </ac:spMkLst>
        </pc:spChg>
        <pc:spChg chg="add del 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41" creationId="{3D66A336-2F64-4F63-AC82-AD9BAA75D330}"/>
          </ac:spMkLst>
        </pc:spChg>
        <pc:spChg chg="mod topLvl">
          <ac:chgData name="Bianca Naomy" userId="abf68bbe-83b2-4c0b-9325-ce8a54e5fdae" providerId="ADAL" clId="{3F3AB1CD-0917-42A7-B7D6-2663540B048D}" dt="2022-03-03T19:29:49.408" v="1200" actId="18245"/>
          <ac:spMkLst>
            <pc:docMk/>
            <pc:sldMk cId="2001048157" sldId="2146846079"/>
            <ac:spMk id="42" creationId="{53739B33-7181-45FF-BBB0-061CF08A9DBC}"/>
          </ac:spMkLst>
        </pc:spChg>
        <pc:spChg chg="add del mod topLvl">
          <ac:chgData name="Bianca Naomy" userId="abf68bbe-83b2-4c0b-9325-ce8a54e5fdae" providerId="ADAL" clId="{3F3AB1CD-0917-42A7-B7D6-2663540B048D}" dt="2022-03-03T19:29:48.156" v="1199" actId="165"/>
          <ac:spMkLst>
            <pc:docMk/>
            <pc:sldMk cId="2001048157" sldId="2146846079"/>
            <ac:spMk id="43" creationId="{9027231C-0500-41EB-8E86-9F48184D489E}"/>
          </ac:spMkLst>
        </pc:spChg>
        <pc:spChg chg="del mod">
          <ac:chgData name="Bianca Naomy" userId="abf68bbe-83b2-4c0b-9325-ce8a54e5fdae" providerId="ADAL" clId="{3F3AB1CD-0917-42A7-B7D6-2663540B048D}" dt="2022-03-03T19:30:20.194" v="1209" actId="478"/>
          <ac:spMkLst>
            <pc:docMk/>
            <pc:sldMk cId="2001048157" sldId="2146846079"/>
            <ac:spMk id="45" creationId="{C895F4E4-0A47-4CC1-A99E-A68D3944AB98}"/>
          </ac:spMkLst>
        </pc:spChg>
        <pc:spChg chg="mod">
          <ac:chgData name="Bianca Naomy" userId="abf68bbe-83b2-4c0b-9325-ce8a54e5fdae" providerId="ADAL" clId="{3F3AB1CD-0917-42A7-B7D6-2663540B048D}" dt="2022-03-03T19:30:56.508" v="1219" actId="207"/>
          <ac:spMkLst>
            <pc:docMk/>
            <pc:sldMk cId="2001048157" sldId="2146846079"/>
            <ac:spMk id="46" creationId="{F52ADAEF-1CCB-4DEC-8A18-A64B56B3A704}"/>
          </ac:spMkLst>
        </pc:spChg>
        <pc:spChg chg="del mod">
          <ac:chgData name="Bianca Naomy" userId="abf68bbe-83b2-4c0b-9325-ce8a54e5fdae" providerId="ADAL" clId="{3F3AB1CD-0917-42A7-B7D6-2663540B048D}" dt="2022-03-03T19:30:22.016" v="1210" actId="478"/>
          <ac:spMkLst>
            <pc:docMk/>
            <pc:sldMk cId="2001048157" sldId="2146846079"/>
            <ac:spMk id="47" creationId="{67507265-A41C-4B50-A5E7-2EE1201842C3}"/>
          </ac:spMkLst>
        </pc:spChg>
        <pc:spChg chg="mod">
          <ac:chgData name="Bianca Naomy" userId="abf68bbe-83b2-4c0b-9325-ce8a54e5fdae" providerId="ADAL" clId="{3F3AB1CD-0917-42A7-B7D6-2663540B048D}" dt="2022-03-03T19:30:56.508" v="1219" actId="207"/>
          <ac:spMkLst>
            <pc:docMk/>
            <pc:sldMk cId="2001048157" sldId="2146846079"/>
            <ac:spMk id="48" creationId="{532F3D36-1128-474F-9BEE-EACC949BF2E0}"/>
          </ac:spMkLst>
        </pc:spChg>
        <pc:spChg chg="del mod">
          <ac:chgData name="Bianca Naomy" userId="abf68bbe-83b2-4c0b-9325-ce8a54e5fdae" providerId="ADAL" clId="{3F3AB1CD-0917-42A7-B7D6-2663540B048D}" dt="2022-03-03T19:30:25.859" v="1211" actId="478"/>
          <ac:spMkLst>
            <pc:docMk/>
            <pc:sldMk cId="2001048157" sldId="2146846079"/>
            <ac:spMk id="49" creationId="{E28D089F-E2E3-48D6-89ED-AB18C9621179}"/>
          </ac:spMkLst>
        </pc:spChg>
        <pc:spChg chg="mod">
          <ac:chgData name="Bianca Naomy" userId="abf68bbe-83b2-4c0b-9325-ce8a54e5fdae" providerId="ADAL" clId="{3F3AB1CD-0917-42A7-B7D6-2663540B048D}" dt="2022-03-03T19:30:56.508" v="1219" actId="207"/>
          <ac:spMkLst>
            <pc:docMk/>
            <pc:sldMk cId="2001048157" sldId="2146846079"/>
            <ac:spMk id="50" creationId="{A9F569AD-89E1-4845-9751-8E801C6EC73A}"/>
          </ac:spMkLst>
        </pc:spChg>
        <pc:spChg chg="del mod">
          <ac:chgData name="Bianca Naomy" userId="abf68bbe-83b2-4c0b-9325-ce8a54e5fdae" providerId="ADAL" clId="{3F3AB1CD-0917-42A7-B7D6-2663540B048D}" dt="2022-03-03T19:30:13.940" v="1208" actId="478"/>
          <ac:spMkLst>
            <pc:docMk/>
            <pc:sldMk cId="2001048157" sldId="2146846079"/>
            <ac:spMk id="51" creationId="{925EC186-57BA-4E1D-9B4A-AEBB4EB57C6B}"/>
          </ac:spMkLst>
        </pc:spChg>
        <pc:spChg chg="mod">
          <ac:chgData name="Bianca Naomy" userId="abf68bbe-83b2-4c0b-9325-ce8a54e5fdae" providerId="ADAL" clId="{3F3AB1CD-0917-42A7-B7D6-2663540B048D}" dt="2022-03-03T19:30:56.508" v="1219" actId="207"/>
          <ac:spMkLst>
            <pc:docMk/>
            <pc:sldMk cId="2001048157" sldId="2146846079"/>
            <ac:spMk id="52" creationId="{F9CAE202-6C45-4EC4-97C9-B8BDD9E01554}"/>
          </ac:spMkLst>
        </pc:spChg>
        <pc:spChg chg="del mod">
          <ac:chgData name="Bianca Naomy" userId="abf68bbe-83b2-4c0b-9325-ce8a54e5fdae" providerId="ADAL" clId="{3F3AB1CD-0917-42A7-B7D6-2663540B048D}" dt="2022-03-03T19:30:11.573" v="1207" actId="478"/>
          <ac:spMkLst>
            <pc:docMk/>
            <pc:sldMk cId="2001048157" sldId="2146846079"/>
            <ac:spMk id="53" creationId="{08C8F9F9-0D16-4973-9CD2-D0190EDDF07C}"/>
          </ac:spMkLst>
        </pc:spChg>
        <pc:spChg chg="add mod">
          <ac:chgData name="Bianca Naomy" userId="abf68bbe-83b2-4c0b-9325-ce8a54e5fdae" providerId="ADAL" clId="{3F3AB1CD-0917-42A7-B7D6-2663540B048D}" dt="2022-03-04T13:43:31.713" v="2050" actId="14100"/>
          <ac:spMkLst>
            <pc:docMk/>
            <pc:sldMk cId="2001048157" sldId="2146846079"/>
            <ac:spMk id="54" creationId="{CA33CA92-6C9A-4BBF-A9CA-3EB3057DD5D4}"/>
          </ac:spMkLst>
        </pc:spChg>
        <pc:spChg chg="del mod topLvl">
          <ac:chgData name="Bianca Naomy" userId="abf68bbe-83b2-4c0b-9325-ce8a54e5fdae" providerId="ADAL" clId="{3F3AB1CD-0917-42A7-B7D6-2663540B048D}" dt="2022-03-03T19:38:02.377" v="1328" actId="478"/>
          <ac:spMkLst>
            <pc:docMk/>
            <pc:sldMk cId="2001048157" sldId="2146846079"/>
            <ac:spMk id="57" creationId="{931FA591-E36B-43C4-B411-8D3480F3EEB8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58" creationId="{94BCBB02-8E66-4C0F-9FA6-DD23E7FA01BD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59" creationId="{F076B0F3-4333-4F73-9289-34FD64006B6C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60" creationId="{A85C8A61-F83D-4C2F-A587-A7B0AF2FC12E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61" creationId="{A9D7DBDB-1285-4416-9622-48904AB14579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62" creationId="{063638E2-38C2-4EA8-AD2B-4177058742BD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63" creationId="{969DDDCA-411B-4DDB-A5C3-3BFCC0BEB0A1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64" creationId="{CBC32437-970F-4E35-B90C-C60F1EF9A69C}"/>
          </ac:spMkLst>
        </pc:spChg>
        <pc:spChg chg="mod topLvl">
          <ac:chgData name="Bianca Naomy" userId="abf68bbe-83b2-4c0b-9325-ce8a54e5fdae" providerId="ADAL" clId="{3F3AB1CD-0917-42A7-B7D6-2663540B048D}" dt="2022-03-03T19:38:36.410" v="1336" actId="164"/>
          <ac:spMkLst>
            <pc:docMk/>
            <pc:sldMk cId="2001048157" sldId="2146846079"/>
            <ac:spMk id="65" creationId="{FBE8F78A-154B-442A-B934-A3EA48410C87}"/>
          </ac:spMkLst>
        </pc:spChg>
        <pc:grpChg chg="add mod">
          <ac:chgData name="Bianca Naomy" userId="abf68bbe-83b2-4c0b-9325-ce8a54e5fdae" providerId="ADAL" clId="{3F3AB1CD-0917-42A7-B7D6-2663540B048D}" dt="2022-03-03T19:38:36.410" v="1336" actId="164"/>
          <ac:grpSpMkLst>
            <pc:docMk/>
            <pc:sldMk cId="2001048157" sldId="2146846079"/>
            <ac:grpSpMk id="6" creationId="{238C85F1-56EE-44F0-8FB1-F13656D1495B}"/>
          </ac:grpSpMkLst>
        </pc:grpChg>
        <pc:grpChg chg="add mod">
          <ac:chgData name="Bianca Naomy" userId="abf68bbe-83b2-4c0b-9325-ce8a54e5fdae" providerId="ADAL" clId="{3F3AB1CD-0917-42A7-B7D6-2663540B048D}" dt="2022-03-04T13:41:38.722" v="2019" actId="164"/>
          <ac:grpSpMkLst>
            <pc:docMk/>
            <pc:sldMk cId="2001048157" sldId="2146846079"/>
            <ac:grpSpMk id="7" creationId="{80E7C45C-7072-4B11-99EE-90D286C673E1}"/>
          </ac:grpSpMkLst>
        </pc:grpChg>
        <pc:grpChg chg="add del mod">
          <ac:chgData name="Bianca Naomy" userId="abf68bbe-83b2-4c0b-9325-ce8a54e5fdae" providerId="ADAL" clId="{3F3AB1CD-0917-42A7-B7D6-2663540B048D}" dt="2022-03-03T19:29:14.627" v="1186" actId="18245"/>
          <ac:grpSpMkLst>
            <pc:docMk/>
            <pc:sldMk cId="2001048157" sldId="2146846079"/>
            <ac:grpSpMk id="14" creationId="{B774E2F5-EB90-4ED6-8FF7-F69106B47524}"/>
          </ac:grpSpMkLst>
        </pc:grpChg>
        <pc:grpChg chg="add del mod">
          <ac:chgData name="Bianca Naomy" userId="abf68bbe-83b2-4c0b-9325-ce8a54e5fdae" providerId="ADAL" clId="{3F3AB1CD-0917-42A7-B7D6-2663540B048D}" dt="2022-03-03T19:29:49.408" v="1200" actId="18245"/>
          <ac:grpSpMkLst>
            <pc:docMk/>
            <pc:sldMk cId="2001048157" sldId="2146846079"/>
            <ac:grpSpMk id="34" creationId="{C29EB88A-8EB6-42A7-B9F4-EF21B8D88DCC}"/>
          </ac:grpSpMkLst>
        </pc:grpChg>
        <pc:grpChg chg="del mod">
          <ac:chgData name="Bianca Naomy" userId="abf68bbe-83b2-4c0b-9325-ce8a54e5fdae" providerId="ADAL" clId="{3F3AB1CD-0917-42A7-B7D6-2663540B048D}" dt="2022-03-03T19:38:28.690" v="1335" actId="478"/>
          <ac:grpSpMkLst>
            <pc:docMk/>
            <pc:sldMk cId="2001048157" sldId="2146846079"/>
            <ac:grpSpMk id="44" creationId="{134CE1CE-73C3-4AEA-B76F-EB7CE2697EB9}"/>
          </ac:grpSpMkLst>
        </pc:grpChg>
        <pc:grpChg chg="del mod">
          <ac:chgData name="Bianca Naomy" userId="abf68bbe-83b2-4c0b-9325-ce8a54e5fdae" providerId="ADAL" clId="{3F3AB1CD-0917-42A7-B7D6-2663540B048D}" dt="2022-03-03T19:36:51.120" v="1316" actId="165"/>
          <ac:grpSpMkLst>
            <pc:docMk/>
            <pc:sldMk cId="2001048157" sldId="2146846079"/>
            <ac:grpSpMk id="56" creationId="{B9207FC3-7C8E-4D97-BB2F-02ACF3948FB4}"/>
          </ac:grpSpMkLst>
        </pc:grpChg>
        <pc:grpChg chg="add mod">
          <ac:chgData name="Bianca Naomy" userId="abf68bbe-83b2-4c0b-9325-ce8a54e5fdae" providerId="ADAL" clId="{3F3AB1CD-0917-42A7-B7D6-2663540B048D}" dt="2022-03-03T19:38:39.851" v="1337" actId="1076"/>
          <ac:grpSpMkLst>
            <pc:docMk/>
            <pc:sldMk cId="2001048157" sldId="2146846079"/>
            <ac:grpSpMk id="66" creationId="{D318F929-8C14-45A1-BEFB-74C0BDA9F4D8}"/>
          </ac:grpSpMkLst>
        </pc:grpChg>
        <pc:graphicFrameChg chg="add del mod modGraphic">
          <ac:chgData name="Bianca Naomy" userId="abf68bbe-83b2-4c0b-9325-ce8a54e5fdae" providerId="ADAL" clId="{3F3AB1CD-0917-42A7-B7D6-2663540B048D}" dt="2022-03-03T19:30:08.898" v="1206" actId="18245"/>
          <ac:graphicFrameMkLst>
            <pc:docMk/>
            <pc:sldMk cId="2001048157" sldId="2146846079"/>
            <ac:graphicFrameMk id="13" creationId="{D3D7FDA4-B0B3-4E85-B5DA-9B592AC9C40E}"/>
          </ac:graphicFrameMkLst>
        </pc:graphicFrameChg>
        <pc:graphicFrameChg chg="add del mod modGraphic">
          <ac:chgData name="Bianca Naomy" userId="abf68bbe-83b2-4c0b-9325-ce8a54e5fdae" providerId="ADAL" clId="{3F3AB1CD-0917-42A7-B7D6-2663540B048D}" dt="2022-03-03T19:36:42.707" v="1315" actId="18245"/>
          <ac:graphicFrameMkLst>
            <pc:docMk/>
            <pc:sldMk cId="2001048157" sldId="2146846079"/>
            <ac:graphicFrameMk id="55" creationId="{53312F5C-5D70-41DC-AF9A-5AEE731D0BB3}"/>
          </ac:graphicFrameMkLst>
        </pc:graphicFrameChg>
        <pc:picChg chg="add mod">
          <ac:chgData name="Bianca Naomy" userId="abf68bbe-83b2-4c0b-9325-ce8a54e5fdae" providerId="ADAL" clId="{3F3AB1CD-0917-42A7-B7D6-2663540B048D}" dt="2022-03-03T19:25:34.678" v="1135" actId="164"/>
          <ac:picMkLst>
            <pc:docMk/>
            <pc:sldMk cId="2001048157" sldId="2146846079"/>
            <ac:picMk id="4" creationId="{D684D8D2-D59B-4658-B3EC-1A0CE587690B}"/>
          </ac:picMkLst>
        </pc:picChg>
        <pc:cxnChg chg="add del">
          <ac:chgData name="Bianca Naomy" userId="abf68bbe-83b2-4c0b-9325-ce8a54e5fdae" providerId="ADAL" clId="{3F3AB1CD-0917-42A7-B7D6-2663540B048D}" dt="2022-03-03T19:30:27.442" v="1212" actId="478"/>
          <ac:cxnSpMkLst>
            <pc:docMk/>
            <pc:sldMk cId="2001048157" sldId="2146846079"/>
            <ac:cxnSpMk id="8" creationId="{E50600AE-1AF2-450B-9177-341B541625F6}"/>
          </ac:cxnSpMkLst>
        </pc:cxnChg>
        <pc:cxnChg chg="add del mod">
          <ac:chgData name="Bianca Naomy" userId="abf68bbe-83b2-4c0b-9325-ce8a54e5fdae" providerId="ADAL" clId="{3F3AB1CD-0917-42A7-B7D6-2663540B048D}" dt="2022-03-03T19:30:28.591" v="1213" actId="478"/>
          <ac:cxnSpMkLst>
            <pc:docMk/>
            <pc:sldMk cId="2001048157" sldId="2146846079"/>
            <ac:cxnSpMk id="9" creationId="{B487085A-F473-4742-AF4E-69B7F86999CD}"/>
          </ac:cxnSpMkLst>
        </pc:cxnChg>
      </pc:sldChg>
      <pc:sldChg chg="modSp add del mod">
        <pc:chgData name="Bianca Naomy" userId="abf68bbe-83b2-4c0b-9325-ce8a54e5fdae" providerId="ADAL" clId="{3F3AB1CD-0917-42A7-B7D6-2663540B048D}" dt="2022-03-04T13:29:25.528" v="1938" actId="47"/>
        <pc:sldMkLst>
          <pc:docMk/>
          <pc:sldMk cId="2260269470" sldId="2146846080"/>
        </pc:sldMkLst>
        <pc:spChg chg="mod">
          <ac:chgData name="Bianca Naomy" userId="abf68bbe-83b2-4c0b-9325-ce8a54e5fdae" providerId="ADAL" clId="{3F3AB1CD-0917-42A7-B7D6-2663540B048D}" dt="2022-03-03T19:44:48.237" v="1366" actId="20577"/>
          <ac:spMkLst>
            <pc:docMk/>
            <pc:sldMk cId="2260269470" sldId="2146846080"/>
            <ac:spMk id="3" creationId="{D27D7BD4-79A4-4F74-AEDD-B6DF3D38FA7F}"/>
          </ac:spMkLst>
        </pc:spChg>
      </pc:sldChg>
      <pc:sldChg chg="addSp delSp modSp add mod">
        <pc:chgData name="Bianca Naomy" userId="abf68bbe-83b2-4c0b-9325-ce8a54e5fdae" providerId="ADAL" clId="{3F3AB1CD-0917-42A7-B7D6-2663540B048D}" dt="2022-03-03T20:32:31.898" v="1710" actId="1076"/>
        <pc:sldMkLst>
          <pc:docMk/>
          <pc:sldMk cId="2969475038" sldId="2146846081"/>
        </pc:sldMkLst>
        <pc:spChg chg="del">
          <ac:chgData name="Bianca Naomy" userId="abf68bbe-83b2-4c0b-9325-ce8a54e5fdae" providerId="ADAL" clId="{3F3AB1CD-0917-42A7-B7D6-2663540B048D}" dt="2022-03-03T20:19:00.488" v="1484" actId="478"/>
          <ac:spMkLst>
            <pc:docMk/>
            <pc:sldMk cId="2969475038" sldId="2146846081"/>
            <ac:spMk id="4" creationId="{7504F8EF-3D40-4067-9FEF-5028299DDC11}"/>
          </ac:spMkLst>
        </pc:spChg>
        <pc:spChg chg="del">
          <ac:chgData name="Bianca Naomy" userId="abf68bbe-83b2-4c0b-9325-ce8a54e5fdae" providerId="ADAL" clId="{3F3AB1CD-0917-42A7-B7D6-2663540B048D}" dt="2022-03-03T20:19:00.488" v="1484" actId="478"/>
          <ac:spMkLst>
            <pc:docMk/>
            <pc:sldMk cId="2969475038" sldId="2146846081"/>
            <ac:spMk id="5" creationId="{D9850037-D7A2-457D-9ADB-F7F097BCB3B1}"/>
          </ac:spMkLst>
        </pc:spChg>
        <pc:spChg chg="mod">
          <ac:chgData name="Bianca Naomy" userId="abf68bbe-83b2-4c0b-9325-ce8a54e5fdae" providerId="ADAL" clId="{3F3AB1CD-0917-42A7-B7D6-2663540B048D}" dt="2022-03-03T20:32:31.898" v="1710" actId="1076"/>
          <ac:spMkLst>
            <pc:docMk/>
            <pc:sldMk cId="2969475038" sldId="2146846081"/>
            <ac:spMk id="6" creationId="{3AB26AD5-1E43-44D0-A679-44D49EF8AA49}"/>
          </ac:spMkLst>
        </pc:spChg>
        <pc:spChg chg="del">
          <ac:chgData name="Bianca Naomy" userId="abf68bbe-83b2-4c0b-9325-ce8a54e5fdae" providerId="ADAL" clId="{3F3AB1CD-0917-42A7-B7D6-2663540B048D}" dt="2022-03-03T20:19:00.488" v="1484" actId="478"/>
          <ac:spMkLst>
            <pc:docMk/>
            <pc:sldMk cId="2969475038" sldId="2146846081"/>
            <ac:spMk id="7" creationId="{0E90C0D4-D0BD-45D6-BBF0-7A575360FB1A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8" creationId="{1D7C792A-CC12-479D-8BB8-7678A646EA6C}"/>
          </ac:spMkLst>
        </pc:spChg>
        <pc:spChg chg="del">
          <ac:chgData name="Bianca Naomy" userId="abf68bbe-83b2-4c0b-9325-ce8a54e5fdae" providerId="ADAL" clId="{3F3AB1CD-0917-42A7-B7D6-2663540B048D}" dt="2022-03-03T20:19:10.626" v="1488" actId="478"/>
          <ac:spMkLst>
            <pc:docMk/>
            <pc:sldMk cId="2969475038" sldId="2146846081"/>
            <ac:spMk id="9" creationId="{D6CFA3F3-047A-4E73-9D8A-D29542D70083}"/>
          </ac:spMkLst>
        </pc:spChg>
        <pc:spChg chg="del">
          <ac:chgData name="Bianca Naomy" userId="abf68bbe-83b2-4c0b-9325-ce8a54e5fdae" providerId="ADAL" clId="{3F3AB1CD-0917-42A7-B7D6-2663540B048D}" dt="2022-03-03T20:19:08.263" v="1487" actId="478"/>
          <ac:spMkLst>
            <pc:docMk/>
            <pc:sldMk cId="2969475038" sldId="2146846081"/>
            <ac:spMk id="10" creationId="{A5B12F80-DF72-4288-96C7-59EB50B81B32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11" creationId="{3851A96E-5BEA-49F6-AE48-7397556F5891}"/>
          </ac:spMkLst>
        </pc:spChg>
        <pc:spChg chg="del">
          <ac:chgData name="Bianca Naomy" userId="abf68bbe-83b2-4c0b-9325-ce8a54e5fdae" providerId="ADAL" clId="{3F3AB1CD-0917-42A7-B7D6-2663540B048D}" dt="2022-03-03T20:19:00.488" v="1484" actId="478"/>
          <ac:spMkLst>
            <pc:docMk/>
            <pc:sldMk cId="2969475038" sldId="2146846081"/>
            <ac:spMk id="12" creationId="{1503C958-514F-4ADD-B389-5EE838BE0E8D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13" creationId="{2C6C05C7-5EE8-42E2-9973-FC5C6DD24E02}"/>
          </ac:spMkLst>
        </pc:spChg>
        <pc:spChg chg="del">
          <ac:chgData name="Bianca Naomy" userId="abf68bbe-83b2-4c0b-9325-ce8a54e5fdae" providerId="ADAL" clId="{3F3AB1CD-0917-42A7-B7D6-2663540B048D}" dt="2022-03-03T20:19:08.263" v="1487" actId="478"/>
          <ac:spMkLst>
            <pc:docMk/>
            <pc:sldMk cId="2969475038" sldId="2146846081"/>
            <ac:spMk id="14" creationId="{D8765F51-A91F-41A2-BA58-C1866FD9464B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15" creationId="{691A9BEF-640C-469B-8749-56C2FEB65340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16" creationId="{5C1E48BA-319A-46FE-AD4D-EE9089AE53C8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17" creationId="{FF77C336-C7D1-4485-8108-03064933CD75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18" creationId="{624147BD-B1E0-4DB3-93A0-BC1D277441F2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19" creationId="{3883DB4B-29D0-45E8-B590-95D75609FCB9}"/>
          </ac:spMkLst>
        </pc:spChg>
        <pc:spChg chg="add mod">
          <ac:chgData name="Bianca Naomy" userId="abf68bbe-83b2-4c0b-9325-ce8a54e5fdae" providerId="ADAL" clId="{3F3AB1CD-0917-42A7-B7D6-2663540B048D}" dt="2022-03-03T20:30:17.998" v="1690" actId="164"/>
          <ac:spMkLst>
            <pc:docMk/>
            <pc:sldMk cId="2969475038" sldId="2146846081"/>
            <ac:spMk id="20" creationId="{2D2C9E22-4796-41C6-81A9-E3D0FD229542}"/>
          </ac:spMkLst>
        </pc:spChg>
        <pc:spChg chg="add del">
          <ac:chgData name="Bianca Naomy" userId="abf68bbe-83b2-4c0b-9325-ce8a54e5fdae" providerId="ADAL" clId="{3F3AB1CD-0917-42A7-B7D6-2663540B048D}" dt="2022-03-03T20:26:49.276" v="1678" actId="478"/>
          <ac:spMkLst>
            <pc:docMk/>
            <pc:sldMk cId="2969475038" sldId="2146846081"/>
            <ac:spMk id="39" creationId="{779D3A90-0415-4A18-807B-5271A6749E23}"/>
          </ac:spMkLst>
        </pc:spChg>
        <pc:spChg chg="add mod">
          <ac:chgData name="Bianca Naomy" userId="abf68bbe-83b2-4c0b-9325-ce8a54e5fdae" providerId="ADAL" clId="{3F3AB1CD-0917-42A7-B7D6-2663540B048D}" dt="2022-03-03T20:31:57.875" v="1704" actId="164"/>
          <ac:spMkLst>
            <pc:docMk/>
            <pc:sldMk cId="2969475038" sldId="2146846081"/>
            <ac:spMk id="42" creationId="{19380C9B-01AE-4F68-9C5E-929D539D9599}"/>
          </ac:spMkLst>
        </pc:spChg>
        <pc:grpChg chg="add mod">
          <ac:chgData name="Bianca Naomy" userId="abf68bbe-83b2-4c0b-9325-ce8a54e5fdae" providerId="ADAL" clId="{3F3AB1CD-0917-42A7-B7D6-2663540B048D}" dt="2022-03-03T20:31:57.875" v="1704" actId="164"/>
          <ac:grpSpMkLst>
            <pc:docMk/>
            <pc:sldMk cId="2969475038" sldId="2146846081"/>
            <ac:grpSpMk id="41" creationId="{2A5EA2E2-75B7-471C-A88D-716B79676EA2}"/>
          </ac:grpSpMkLst>
        </pc:grpChg>
        <pc:grpChg chg="add mod">
          <ac:chgData name="Bianca Naomy" userId="abf68bbe-83b2-4c0b-9325-ce8a54e5fdae" providerId="ADAL" clId="{3F3AB1CD-0917-42A7-B7D6-2663540B048D}" dt="2022-03-03T20:32:03.829" v="1705" actId="1076"/>
          <ac:grpSpMkLst>
            <pc:docMk/>
            <pc:sldMk cId="2969475038" sldId="2146846081"/>
            <ac:grpSpMk id="45" creationId="{DD6B3569-7EE4-441B-B5B3-5E06AE9395FE}"/>
          </ac:grpSpMkLst>
        </pc:grpChg>
        <pc:graphicFrameChg chg="add del mod modGraphic">
          <ac:chgData name="Bianca Naomy" userId="abf68bbe-83b2-4c0b-9325-ce8a54e5fdae" providerId="ADAL" clId="{3F3AB1CD-0917-42A7-B7D6-2663540B048D}" dt="2022-03-03T20:20:18.263" v="1507" actId="478"/>
          <ac:graphicFrameMkLst>
            <pc:docMk/>
            <pc:sldMk cId="2969475038" sldId="2146846081"/>
            <ac:graphicFrameMk id="2" creationId="{01A3FA9B-7E79-46F9-A55F-B85C5F42D693}"/>
          </ac:graphicFrameMkLst>
        </pc:graphicFrameChg>
        <pc:cxnChg chg="add mod">
          <ac:chgData name="Bianca Naomy" userId="abf68bbe-83b2-4c0b-9325-ce8a54e5fdae" providerId="ADAL" clId="{3F3AB1CD-0917-42A7-B7D6-2663540B048D}" dt="2022-03-03T20:30:17.998" v="1690" actId="164"/>
          <ac:cxnSpMkLst>
            <pc:docMk/>
            <pc:sldMk cId="2969475038" sldId="2146846081"/>
            <ac:cxnSpMk id="22" creationId="{A4B1105F-EB80-47DC-9E10-7E951DF1CA8F}"/>
          </ac:cxnSpMkLst>
        </pc:cxnChg>
        <pc:cxnChg chg="add mod">
          <ac:chgData name="Bianca Naomy" userId="abf68bbe-83b2-4c0b-9325-ce8a54e5fdae" providerId="ADAL" clId="{3F3AB1CD-0917-42A7-B7D6-2663540B048D}" dt="2022-03-03T20:30:17.998" v="1690" actId="164"/>
          <ac:cxnSpMkLst>
            <pc:docMk/>
            <pc:sldMk cId="2969475038" sldId="2146846081"/>
            <ac:cxnSpMk id="24" creationId="{D4D6551A-11D7-48DA-8579-96516871FAA8}"/>
          </ac:cxnSpMkLst>
        </pc:cxnChg>
        <pc:cxnChg chg="add mod">
          <ac:chgData name="Bianca Naomy" userId="abf68bbe-83b2-4c0b-9325-ce8a54e5fdae" providerId="ADAL" clId="{3F3AB1CD-0917-42A7-B7D6-2663540B048D}" dt="2022-03-03T20:30:17.998" v="1690" actId="164"/>
          <ac:cxnSpMkLst>
            <pc:docMk/>
            <pc:sldMk cId="2969475038" sldId="2146846081"/>
            <ac:cxnSpMk id="26" creationId="{25485FDE-63EE-4C61-B512-648078940060}"/>
          </ac:cxnSpMkLst>
        </pc:cxnChg>
        <pc:cxnChg chg="add mod">
          <ac:chgData name="Bianca Naomy" userId="abf68bbe-83b2-4c0b-9325-ce8a54e5fdae" providerId="ADAL" clId="{3F3AB1CD-0917-42A7-B7D6-2663540B048D}" dt="2022-03-03T20:30:17.998" v="1690" actId="164"/>
          <ac:cxnSpMkLst>
            <pc:docMk/>
            <pc:sldMk cId="2969475038" sldId="2146846081"/>
            <ac:cxnSpMk id="29" creationId="{FE99AAB1-A30D-42D5-95C3-37DF300A0733}"/>
          </ac:cxnSpMkLst>
        </pc:cxnChg>
        <pc:cxnChg chg="add mod">
          <ac:chgData name="Bianca Naomy" userId="abf68bbe-83b2-4c0b-9325-ce8a54e5fdae" providerId="ADAL" clId="{3F3AB1CD-0917-42A7-B7D6-2663540B048D}" dt="2022-03-03T20:30:17.998" v="1690" actId="164"/>
          <ac:cxnSpMkLst>
            <pc:docMk/>
            <pc:sldMk cId="2969475038" sldId="2146846081"/>
            <ac:cxnSpMk id="34" creationId="{324139A5-BAEC-4729-8353-4D68B5552021}"/>
          </ac:cxnSpMkLst>
        </pc:cxnChg>
        <pc:cxnChg chg="add mod">
          <ac:chgData name="Bianca Naomy" userId="abf68bbe-83b2-4c0b-9325-ce8a54e5fdae" providerId="ADAL" clId="{3F3AB1CD-0917-42A7-B7D6-2663540B048D}" dt="2022-03-03T20:30:17.998" v="1690" actId="164"/>
          <ac:cxnSpMkLst>
            <pc:docMk/>
            <pc:sldMk cId="2969475038" sldId="2146846081"/>
            <ac:cxnSpMk id="36" creationId="{3113F515-4AF6-49AF-9B19-0FD47AFD3ABC}"/>
          </ac:cxnSpMkLst>
        </pc:cxnChg>
        <pc:cxnChg chg="add mod">
          <ac:chgData name="Bianca Naomy" userId="abf68bbe-83b2-4c0b-9325-ce8a54e5fdae" providerId="ADAL" clId="{3F3AB1CD-0917-42A7-B7D6-2663540B048D}" dt="2022-03-03T20:31:57.875" v="1704" actId="164"/>
          <ac:cxnSpMkLst>
            <pc:docMk/>
            <pc:sldMk cId="2969475038" sldId="2146846081"/>
            <ac:cxnSpMk id="44" creationId="{125A0611-0E42-4733-A100-1A069CAD8BBC}"/>
          </ac:cxnSpMkLst>
        </pc:cxnChg>
      </pc:sldChg>
      <pc:sldChg chg="addSp modSp add mod">
        <pc:chgData name="Bianca Naomy" userId="abf68bbe-83b2-4c0b-9325-ce8a54e5fdae" providerId="ADAL" clId="{3F3AB1CD-0917-42A7-B7D6-2663540B048D}" dt="2022-03-04T13:17:42.563" v="1935" actId="20577"/>
        <pc:sldMkLst>
          <pc:docMk/>
          <pc:sldMk cId="2761840669" sldId="2146846082"/>
        </pc:sldMkLst>
        <pc:spChg chg="mod">
          <ac:chgData name="Bianca Naomy" userId="abf68bbe-83b2-4c0b-9325-ce8a54e5fdae" providerId="ADAL" clId="{3F3AB1CD-0917-42A7-B7D6-2663540B048D}" dt="2022-03-04T13:03:31.041" v="1861" actId="20577"/>
          <ac:spMkLst>
            <pc:docMk/>
            <pc:sldMk cId="2761840669" sldId="2146846082"/>
            <ac:spMk id="3" creationId="{D27D7BD4-79A4-4F74-AEDD-B6DF3D38FA7F}"/>
          </ac:spMkLst>
        </pc:spChg>
        <pc:spChg chg="add mod">
          <ac:chgData name="Bianca Naomy" userId="abf68bbe-83b2-4c0b-9325-ce8a54e5fdae" providerId="ADAL" clId="{3F3AB1CD-0917-42A7-B7D6-2663540B048D}" dt="2022-03-04T13:17:42.563" v="1935" actId="20577"/>
          <ac:spMkLst>
            <pc:docMk/>
            <pc:sldMk cId="2761840669" sldId="2146846082"/>
            <ac:spMk id="4" creationId="{0BA3A87C-2F0F-4D42-BD03-836DB402C5B9}"/>
          </ac:spMkLst>
        </pc:spChg>
      </pc:sldChg>
      <pc:sldChg chg="addSp delSp modSp add mod">
        <pc:chgData name="Bianca Naomy" userId="abf68bbe-83b2-4c0b-9325-ce8a54e5fdae" providerId="ADAL" clId="{3F3AB1CD-0917-42A7-B7D6-2663540B048D}" dt="2022-03-04T14:29:44.819" v="2441" actId="1076"/>
        <pc:sldMkLst>
          <pc:docMk/>
          <pc:sldMk cId="4029788326" sldId="2146846083"/>
        </pc:sldMkLst>
        <pc:spChg chg="del">
          <ac:chgData name="Bianca Naomy" userId="abf68bbe-83b2-4c0b-9325-ce8a54e5fdae" providerId="ADAL" clId="{3F3AB1CD-0917-42A7-B7D6-2663540B048D}" dt="2022-03-04T13:55:34.841" v="2065" actId="478"/>
          <ac:spMkLst>
            <pc:docMk/>
            <pc:sldMk cId="4029788326" sldId="2146846083"/>
            <ac:spMk id="4" creationId="{7504F8EF-3D40-4067-9FEF-5028299DDC11}"/>
          </ac:spMkLst>
        </pc:spChg>
        <pc:spChg chg="del">
          <ac:chgData name="Bianca Naomy" userId="abf68bbe-83b2-4c0b-9325-ce8a54e5fdae" providerId="ADAL" clId="{3F3AB1CD-0917-42A7-B7D6-2663540B048D}" dt="2022-03-04T13:55:34.841" v="2065" actId="478"/>
          <ac:spMkLst>
            <pc:docMk/>
            <pc:sldMk cId="4029788326" sldId="2146846083"/>
            <ac:spMk id="5" creationId="{D9850037-D7A2-457D-9ADB-F7F097BCB3B1}"/>
          </ac:spMkLst>
        </pc:spChg>
        <pc:spChg chg="del">
          <ac:chgData name="Bianca Naomy" userId="abf68bbe-83b2-4c0b-9325-ce8a54e5fdae" providerId="ADAL" clId="{3F3AB1CD-0917-42A7-B7D6-2663540B048D}" dt="2022-03-04T13:55:34.841" v="2065" actId="478"/>
          <ac:spMkLst>
            <pc:docMk/>
            <pc:sldMk cId="4029788326" sldId="2146846083"/>
            <ac:spMk id="7" creationId="{0E90C0D4-D0BD-45D6-BBF0-7A575360FB1A}"/>
          </ac:spMkLst>
        </pc:spChg>
        <pc:spChg chg="add mod">
          <ac:chgData name="Bianca Naomy" userId="abf68bbe-83b2-4c0b-9325-ce8a54e5fdae" providerId="ADAL" clId="{3F3AB1CD-0917-42A7-B7D6-2663540B048D}" dt="2022-03-04T13:56:46.248" v="2087" actId="13926"/>
          <ac:spMkLst>
            <pc:docMk/>
            <pc:sldMk cId="4029788326" sldId="2146846083"/>
            <ac:spMk id="8" creationId="{D1947B6B-EFAD-42C4-85AB-0C7271687C2F}"/>
          </ac:spMkLst>
        </pc:spChg>
        <pc:spChg chg="add mod">
          <ac:chgData name="Bianca Naomy" userId="abf68bbe-83b2-4c0b-9325-ce8a54e5fdae" providerId="ADAL" clId="{3F3AB1CD-0917-42A7-B7D6-2663540B048D}" dt="2022-03-04T14:29:36.602" v="2437" actId="1076"/>
          <ac:spMkLst>
            <pc:docMk/>
            <pc:sldMk cId="4029788326" sldId="2146846083"/>
            <ac:spMk id="9" creationId="{1A1CC5CF-E4A9-4228-8D28-E17457198A43}"/>
          </ac:spMkLst>
        </pc:spChg>
        <pc:spChg chg="mod">
          <ac:chgData name="Bianca Naomy" userId="abf68bbe-83b2-4c0b-9325-ce8a54e5fdae" providerId="ADAL" clId="{3F3AB1CD-0917-42A7-B7D6-2663540B048D}" dt="2022-03-04T14:29:44.819" v="2441" actId="1076"/>
          <ac:spMkLst>
            <pc:docMk/>
            <pc:sldMk cId="4029788326" sldId="2146846083"/>
            <ac:spMk id="10" creationId="{A5B12F80-DF72-4288-96C7-59EB50B81B32}"/>
          </ac:spMkLst>
        </pc:spChg>
        <pc:spChg chg="del">
          <ac:chgData name="Bianca Naomy" userId="abf68bbe-83b2-4c0b-9325-ce8a54e5fdae" providerId="ADAL" clId="{3F3AB1CD-0917-42A7-B7D6-2663540B048D}" dt="2022-03-04T13:55:34.841" v="2065" actId="478"/>
          <ac:spMkLst>
            <pc:docMk/>
            <pc:sldMk cId="4029788326" sldId="2146846083"/>
            <ac:spMk id="12" creationId="{1503C958-514F-4ADD-B389-5EE838BE0E8D}"/>
          </ac:spMkLst>
        </pc:spChg>
      </pc:sldChg>
      <pc:sldChg chg="addSp delSp modSp add del mod">
        <pc:chgData name="Bianca Naomy" userId="abf68bbe-83b2-4c0b-9325-ce8a54e5fdae" providerId="ADAL" clId="{3F3AB1CD-0917-42A7-B7D6-2663540B048D}" dt="2022-03-04T14:20:44.706" v="2283" actId="47"/>
        <pc:sldMkLst>
          <pc:docMk/>
          <pc:sldMk cId="2938600858" sldId="2146846084"/>
        </pc:sldMkLst>
        <pc:spChg chg="mod">
          <ac:chgData name="Bianca Naomy" userId="abf68bbe-83b2-4c0b-9325-ce8a54e5fdae" providerId="ADAL" clId="{3F3AB1CD-0917-42A7-B7D6-2663540B048D}" dt="2022-03-04T14:02:30.440" v="2137" actId="20577"/>
          <ac:spMkLst>
            <pc:docMk/>
            <pc:sldMk cId="2938600858" sldId="2146846084"/>
            <ac:spMk id="3" creationId="{D27D7BD4-79A4-4F74-AEDD-B6DF3D38FA7F}"/>
          </ac:spMkLst>
        </pc:spChg>
        <pc:spChg chg="add mod">
          <ac:chgData name="Bianca Naomy" userId="abf68bbe-83b2-4c0b-9325-ce8a54e5fdae" providerId="ADAL" clId="{3F3AB1CD-0917-42A7-B7D6-2663540B048D}" dt="2022-03-04T14:13:11.716" v="2164" actId="1076"/>
          <ac:spMkLst>
            <pc:docMk/>
            <pc:sldMk cId="2938600858" sldId="2146846084"/>
            <ac:spMk id="20" creationId="{4638D83B-B0A3-46E5-A1ED-BDF11A3CF4F2}"/>
          </ac:spMkLst>
        </pc:spChg>
        <pc:spChg chg="add mod">
          <ac:chgData name="Bianca Naomy" userId="abf68bbe-83b2-4c0b-9325-ce8a54e5fdae" providerId="ADAL" clId="{3F3AB1CD-0917-42A7-B7D6-2663540B048D}" dt="2022-03-04T14:13:59.454" v="2245" actId="114"/>
          <ac:spMkLst>
            <pc:docMk/>
            <pc:sldMk cId="2938600858" sldId="2146846084"/>
            <ac:spMk id="21" creationId="{3C175686-E1E0-449D-93A9-5F194FE56602}"/>
          </ac:spMkLst>
        </pc:spChg>
        <pc:spChg chg="del">
          <ac:chgData name="Bianca Naomy" userId="abf68bbe-83b2-4c0b-9325-ce8a54e5fdae" providerId="ADAL" clId="{3F3AB1CD-0917-42A7-B7D6-2663540B048D}" dt="2022-03-04T14:02:33.655" v="2138" actId="478"/>
          <ac:spMkLst>
            <pc:docMk/>
            <pc:sldMk cId="2938600858" sldId="2146846084"/>
            <ac:spMk id="22" creationId="{CBEC229F-1C20-4AA7-A2AE-C210AF86D9A8}"/>
          </ac:spMkLst>
        </pc:spChg>
        <pc:spChg chg="mod">
          <ac:chgData name="Bianca Naomy" userId="abf68bbe-83b2-4c0b-9325-ce8a54e5fdae" providerId="ADAL" clId="{3F3AB1CD-0917-42A7-B7D6-2663540B048D}" dt="2022-03-04T14:05:30.551" v="2147" actId="1076"/>
          <ac:spMkLst>
            <pc:docMk/>
            <pc:sldMk cId="2938600858" sldId="2146846084"/>
            <ac:spMk id="54" creationId="{CA33CA92-6C9A-4BBF-A9CA-3EB3057DD5D4}"/>
          </ac:spMkLst>
        </pc:spChg>
        <pc:grpChg chg="del">
          <ac:chgData name="Bianca Naomy" userId="abf68bbe-83b2-4c0b-9325-ce8a54e5fdae" providerId="ADAL" clId="{3F3AB1CD-0917-42A7-B7D6-2663540B048D}" dt="2022-03-04T14:01:09.404" v="2105" actId="478"/>
          <ac:grpSpMkLst>
            <pc:docMk/>
            <pc:sldMk cId="2938600858" sldId="2146846084"/>
            <ac:grpSpMk id="7" creationId="{80E7C45C-7072-4B11-99EE-90D286C673E1}"/>
          </ac:grpSpMkLst>
        </pc:grpChg>
        <pc:grpChg chg="del">
          <ac:chgData name="Bianca Naomy" userId="abf68bbe-83b2-4c0b-9325-ce8a54e5fdae" providerId="ADAL" clId="{3F3AB1CD-0917-42A7-B7D6-2663540B048D}" dt="2022-03-04T14:02:06.086" v="2119" actId="478"/>
          <ac:grpSpMkLst>
            <pc:docMk/>
            <pc:sldMk cId="2938600858" sldId="2146846084"/>
            <ac:grpSpMk id="66" creationId="{D318F929-8C14-45A1-BEFB-74C0BDA9F4D8}"/>
          </ac:grpSpMkLst>
        </pc:grpChg>
      </pc:sldChg>
      <pc:sldChg chg="addSp modSp add mod">
        <pc:chgData name="Bianca Naomy" userId="abf68bbe-83b2-4c0b-9325-ce8a54e5fdae" providerId="ADAL" clId="{3F3AB1CD-0917-42A7-B7D6-2663540B048D}" dt="2022-03-04T14:19:52.734" v="2282" actId="1035"/>
        <pc:sldMkLst>
          <pc:docMk/>
          <pc:sldMk cId="1230900351" sldId="2146846085"/>
        </pc:sldMkLst>
        <pc:spChg chg="add mod">
          <ac:chgData name="Bianca Naomy" userId="abf68bbe-83b2-4c0b-9325-ce8a54e5fdae" providerId="ADAL" clId="{3F3AB1CD-0917-42A7-B7D6-2663540B048D}" dt="2022-03-04T14:19:52.734" v="2282" actId="1035"/>
          <ac:spMkLst>
            <pc:docMk/>
            <pc:sldMk cId="1230900351" sldId="2146846085"/>
            <ac:spMk id="2" creationId="{28F08B2A-AE79-4B31-B3B0-9849E5F3478F}"/>
          </ac:spMkLst>
        </pc:spChg>
        <pc:spChg chg="add mod">
          <ac:chgData name="Bianca Naomy" userId="abf68bbe-83b2-4c0b-9325-ce8a54e5fdae" providerId="ADAL" clId="{3F3AB1CD-0917-42A7-B7D6-2663540B048D}" dt="2022-03-04T14:19:52.734" v="2282" actId="1035"/>
          <ac:spMkLst>
            <pc:docMk/>
            <pc:sldMk cId="1230900351" sldId="2146846085"/>
            <ac:spMk id="7" creationId="{DD47F853-72D6-4609-A6AF-45D3FE3D5F78}"/>
          </ac:spMkLst>
        </pc:spChg>
        <pc:spChg chg="mod">
          <ac:chgData name="Bianca Naomy" userId="abf68bbe-83b2-4c0b-9325-ce8a54e5fdae" providerId="ADAL" clId="{3F3AB1CD-0917-42A7-B7D6-2663540B048D}" dt="2022-03-04T14:19:52.734" v="2282" actId="1035"/>
          <ac:spMkLst>
            <pc:docMk/>
            <pc:sldMk cId="1230900351" sldId="2146846085"/>
            <ac:spMk id="20" creationId="{4638D83B-B0A3-46E5-A1ED-BDF11A3CF4F2}"/>
          </ac:spMkLst>
        </pc:spChg>
        <pc:spChg chg="mod">
          <ac:chgData name="Bianca Naomy" userId="abf68bbe-83b2-4c0b-9325-ce8a54e5fdae" providerId="ADAL" clId="{3F3AB1CD-0917-42A7-B7D6-2663540B048D}" dt="2022-03-04T14:19:52.734" v="2282" actId="1035"/>
          <ac:spMkLst>
            <pc:docMk/>
            <pc:sldMk cId="1230900351" sldId="2146846085"/>
            <ac:spMk id="21" creationId="{3C175686-E1E0-449D-93A9-5F194FE56602}"/>
          </ac:spMkLst>
        </pc:spChg>
      </pc:sldChg>
      <pc:sldChg chg="addSp modSp add mod ord">
        <pc:chgData name="Bianca Naomy" userId="abf68bbe-83b2-4c0b-9325-ce8a54e5fdae" providerId="ADAL" clId="{3F3AB1CD-0917-42A7-B7D6-2663540B048D}" dt="2022-03-04T19:20:42.441" v="2485" actId="14100"/>
        <pc:sldMkLst>
          <pc:docMk/>
          <pc:sldMk cId="2851014050" sldId="2146846086"/>
        </pc:sldMkLst>
        <pc:spChg chg="mod">
          <ac:chgData name="Bianca Naomy" userId="abf68bbe-83b2-4c0b-9325-ce8a54e5fdae" providerId="ADAL" clId="{3F3AB1CD-0917-42A7-B7D6-2663540B048D}" dt="2022-03-04T15:54:25.164" v="2442" actId="20577"/>
          <ac:spMkLst>
            <pc:docMk/>
            <pc:sldMk cId="2851014050" sldId="2146846086"/>
            <ac:spMk id="3" creationId="{D27D7BD4-79A4-4F74-AEDD-B6DF3D38FA7F}"/>
          </ac:spMkLst>
        </pc:spChg>
        <pc:spChg chg="add mod">
          <ac:chgData name="Bianca Naomy" userId="abf68bbe-83b2-4c0b-9325-ce8a54e5fdae" providerId="ADAL" clId="{3F3AB1CD-0917-42A7-B7D6-2663540B048D}" dt="2022-03-04T19:20:42.441" v="2485" actId="14100"/>
          <ac:spMkLst>
            <pc:docMk/>
            <pc:sldMk cId="2851014050" sldId="2146846086"/>
            <ac:spMk id="4" creationId="{CB7FC126-B18B-4488-BEC7-75909B7023CC}"/>
          </ac:spMkLst>
        </pc:spChg>
      </pc:sldChg>
    </pc:docChg>
  </pc:docChgLst>
  <pc:docChgLst>
    <pc:chgData name="Katerine Schifino" userId="37bb67de-9fcf-4611-888c-7e5b58184a2a" providerId="ADAL" clId="{FBCE2227-C23E-4034-8BF3-5564E1D3696E}"/>
    <pc:docChg chg="custSel addSld modSld">
      <pc:chgData name="Katerine Schifino" userId="37bb67de-9fcf-4611-888c-7e5b58184a2a" providerId="ADAL" clId="{FBCE2227-C23E-4034-8BF3-5564E1D3696E}" dt="2022-03-08T22:49:20.691" v="153" actId="20577"/>
      <pc:docMkLst>
        <pc:docMk/>
      </pc:docMkLst>
      <pc:sldChg chg="modSp mod">
        <pc:chgData name="Katerine Schifino" userId="37bb67de-9fcf-4611-888c-7e5b58184a2a" providerId="ADAL" clId="{FBCE2227-C23E-4034-8BF3-5564E1D3696E}" dt="2022-03-08T22:49:20.691" v="153" actId="20577"/>
        <pc:sldMkLst>
          <pc:docMk/>
          <pc:sldMk cId="1390084327" sldId="2146846067"/>
        </pc:sldMkLst>
        <pc:spChg chg="mod">
          <ac:chgData name="Katerine Schifino" userId="37bb67de-9fcf-4611-888c-7e5b58184a2a" providerId="ADAL" clId="{FBCE2227-C23E-4034-8BF3-5564E1D3696E}" dt="2022-03-08T22:49:20.691" v="153" actId="20577"/>
          <ac:spMkLst>
            <pc:docMk/>
            <pc:sldMk cId="1390084327" sldId="2146846067"/>
            <ac:spMk id="4" creationId="{2ED80763-D8A0-45A2-9778-83954983BC11}"/>
          </ac:spMkLst>
        </pc:spChg>
      </pc:sldChg>
      <pc:sldChg chg="modSp mod">
        <pc:chgData name="Katerine Schifino" userId="37bb67de-9fcf-4611-888c-7e5b58184a2a" providerId="ADAL" clId="{FBCE2227-C23E-4034-8BF3-5564E1D3696E}" dt="2022-03-08T22:27:23.329" v="129" actId="20577"/>
        <pc:sldMkLst>
          <pc:docMk/>
          <pc:sldMk cId="4122836090" sldId="2146846075"/>
        </pc:sldMkLst>
        <pc:spChg chg="mod">
          <ac:chgData name="Katerine Schifino" userId="37bb67de-9fcf-4611-888c-7e5b58184a2a" providerId="ADAL" clId="{FBCE2227-C23E-4034-8BF3-5564E1D3696E}" dt="2022-03-08T22:27:23.329" v="129" actId="20577"/>
          <ac:spMkLst>
            <pc:docMk/>
            <pc:sldMk cId="4122836090" sldId="2146846075"/>
            <ac:spMk id="13" creationId="{0CC1DEC0-02FA-4074-9C99-500B9CED8FE2}"/>
          </ac:spMkLst>
        </pc:spChg>
      </pc:sldChg>
      <pc:sldChg chg="modSp mod">
        <pc:chgData name="Katerine Schifino" userId="37bb67de-9fcf-4611-888c-7e5b58184a2a" providerId="ADAL" clId="{FBCE2227-C23E-4034-8BF3-5564E1D3696E}" dt="2022-03-08T22:29:21.046" v="130" actId="5793"/>
        <pc:sldMkLst>
          <pc:docMk/>
          <pc:sldMk cId="4029788326" sldId="2146846083"/>
        </pc:sldMkLst>
        <pc:spChg chg="mod">
          <ac:chgData name="Katerine Schifino" userId="37bb67de-9fcf-4611-888c-7e5b58184a2a" providerId="ADAL" clId="{FBCE2227-C23E-4034-8BF3-5564E1D3696E}" dt="2022-03-08T22:29:21.046" v="130" actId="5793"/>
          <ac:spMkLst>
            <pc:docMk/>
            <pc:sldMk cId="4029788326" sldId="2146846083"/>
            <ac:spMk id="10" creationId="{A5B12F80-DF72-4288-96C7-59EB50B81B32}"/>
          </ac:spMkLst>
        </pc:spChg>
      </pc:sldChg>
      <pc:sldChg chg="modSp add mod">
        <pc:chgData name="Katerine Schifino" userId="37bb67de-9fcf-4611-888c-7e5b58184a2a" providerId="ADAL" clId="{FBCE2227-C23E-4034-8BF3-5564E1D3696E}" dt="2022-03-08T22:24:08.541" v="126" actId="5793"/>
        <pc:sldMkLst>
          <pc:docMk/>
          <pc:sldMk cId="3819789892" sldId="2146846087"/>
        </pc:sldMkLst>
        <pc:spChg chg="mod">
          <ac:chgData name="Katerine Schifino" userId="37bb67de-9fcf-4611-888c-7e5b58184a2a" providerId="ADAL" clId="{FBCE2227-C23E-4034-8BF3-5564E1D3696E}" dt="2022-03-08T22:24:08.541" v="126" actId="5793"/>
          <ac:spMkLst>
            <pc:docMk/>
            <pc:sldMk cId="3819789892" sldId="2146846087"/>
            <ac:spMk id="2" creationId="{C0E9A057-F805-4750-9C97-49B491EDA40C}"/>
          </ac:spMkLst>
        </pc:spChg>
      </pc:sldChg>
      <pc:sldChg chg="addSp delSp modSp add mod modClrScheme chgLayout">
        <pc:chgData name="Katerine Schifino" userId="37bb67de-9fcf-4611-888c-7e5b58184a2a" providerId="ADAL" clId="{FBCE2227-C23E-4034-8BF3-5564E1D3696E}" dt="2022-03-08T22:43:22.397" v="136" actId="700"/>
        <pc:sldMkLst>
          <pc:docMk/>
          <pc:sldMk cId="383325140" sldId="2146846088"/>
        </pc:sldMkLst>
        <pc:spChg chg="del">
          <ac:chgData name="Katerine Schifino" userId="37bb67de-9fcf-4611-888c-7e5b58184a2a" providerId="ADAL" clId="{FBCE2227-C23E-4034-8BF3-5564E1D3696E}" dt="2022-03-08T22:43:05.616" v="132" actId="478"/>
          <ac:spMkLst>
            <pc:docMk/>
            <pc:sldMk cId="383325140" sldId="2146846088"/>
            <ac:spMk id="3" creationId="{D27D7BD4-79A4-4F74-AEDD-B6DF3D38FA7F}"/>
          </ac:spMkLst>
        </pc:spChg>
        <pc:spChg chg="add mod">
          <ac:chgData name="Katerine Schifino" userId="37bb67de-9fcf-4611-888c-7e5b58184a2a" providerId="ADAL" clId="{FBCE2227-C23E-4034-8BF3-5564E1D3696E}" dt="2022-03-08T22:43:15.927" v="135" actId="20577"/>
          <ac:spMkLst>
            <pc:docMk/>
            <pc:sldMk cId="383325140" sldId="2146846088"/>
            <ac:spMk id="20" creationId="{78B5DFB7-95B6-48CF-B15E-D9245E492B65}"/>
          </ac:spMkLst>
        </pc:spChg>
        <pc:spChg chg="del">
          <ac:chgData name="Katerine Schifino" userId="37bb67de-9fcf-4611-888c-7e5b58184a2a" providerId="ADAL" clId="{FBCE2227-C23E-4034-8BF3-5564E1D3696E}" dt="2022-03-08T22:43:05.616" v="132" actId="478"/>
          <ac:spMkLst>
            <pc:docMk/>
            <pc:sldMk cId="383325140" sldId="2146846088"/>
            <ac:spMk id="22" creationId="{CBEC229F-1C20-4AA7-A2AE-C210AF86D9A8}"/>
          </ac:spMkLst>
        </pc:spChg>
        <pc:spChg chg="del">
          <ac:chgData name="Katerine Schifino" userId="37bb67de-9fcf-4611-888c-7e5b58184a2a" providerId="ADAL" clId="{FBCE2227-C23E-4034-8BF3-5564E1D3696E}" dt="2022-03-08T22:43:05.616" v="132" actId="478"/>
          <ac:spMkLst>
            <pc:docMk/>
            <pc:sldMk cId="383325140" sldId="2146846088"/>
            <ac:spMk id="54" creationId="{CA33CA92-6C9A-4BBF-A9CA-3EB3057DD5D4}"/>
          </ac:spMkLst>
        </pc:spChg>
        <pc:grpChg chg="del">
          <ac:chgData name="Katerine Schifino" userId="37bb67de-9fcf-4611-888c-7e5b58184a2a" providerId="ADAL" clId="{FBCE2227-C23E-4034-8BF3-5564E1D3696E}" dt="2022-03-08T22:43:05.616" v="132" actId="478"/>
          <ac:grpSpMkLst>
            <pc:docMk/>
            <pc:sldMk cId="383325140" sldId="2146846088"/>
            <ac:grpSpMk id="7" creationId="{80E7C45C-7072-4B11-99EE-90D286C673E1}"/>
          </ac:grpSpMkLst>
        </pc:grpChg>
        <pc:grpChg chg="del">
          <ac:chgData name="Katerine Schifino" userId="37bb67de-9fcf-4611-888c-7e5b58184a2a" providerId="ADAL" clId="{FBCE2227-C23E-4034-8BF3-5564E1D3696E}" dt="2022-03-08T22:43:07.781" v="133" actId="478"/>
          <ac:grpSpMkLst>
            <pc:docMk/>
            <pc:sldMk cId="383325140" sldId="2146846088"/>
            <ac:grpSpMk id="66" creationId="{D318F929-8C14-45A1-BEFB-74C0BDA9F4D8}"/>
          </ac:grpSpMkLst>
        </pc:grpChg>
      </pc:sldChg>
    </pc:docChg>
  </pc:docChgLst>
  <pc:docChgLst>
    <pc:chgData name="Katerine Schifino" userId="37bb67de-9fcf-4611-888c-7e5b58184a2a" providerId="ADAL" clId="{492CA766-37C7-49E7-917E-99FEE8BB3045}"/>
    <pc:docChg chg="undo redo custSel addSld delSld modSld sldOrd">
      <pc:chgData name="Katerine Schifino" userId="37bb67de-9fcf-4611-888c-7e5b58184a2a" providerId="ADAL" clId="{492CA766-37C7-49E7-917E-99FEE8BB3045}" dt="2022-03-14T14:10:41.054" v="3958" actId="47"/>
      <pc:docMkLst>
        <pc:docMk/>
      </pc:docMkLst>
      <pc:sldChg chg="addSp delSp modSp mod">
        <pc:chgData name="Katerine Schifino" userId="37bb67de-9fcf-4611-888c-7e5b58184a2a" providerId="ADAL" clId="{492CA766-37C7-49E7-917E-99FEE8BB3045}" dt="2022-03-09T14:39:33.142" v="930" actId="1076"/>
        <pc:sldMkLst>
          <pc:docMk/>
          <pc:sldMk cId="4072131230" sldId="2080108012"/>
        </pc:sldMkLst>
        <pc:spChg chg="mod">
          <ac:chgData name="Katerine Schifino" userId="37bb67de-9fcf-4611-888c-7e5b58184a2a" providerId="ADAL" clId="{492CA766-37C7-49E7-917E-99FEE8BB3045}" dt="2022-03-09T14:39:16.247" v="926" actId="20577"/>
          <ac:spMkLst>
            <pc:docMk/>
            <pc:sldMk cId="4072131230" sldId="2080108012"/>
            <ac:spMk id="3" creationId="{FEA9F600-57E1-444E-9B65-D38B4F85ADE7}"/>
          </ac:spMkLst>
        </pc:spChg>
        <pc:picChg chg="del">
          <ac:chgData name="Katerine Schifino" userId="37bb67de-9fcf-4611-888c-7e5b58184a2a" providerId="ADAL" clId="{492CA766-37C7-49E7-917E-99FEE8BB3045}" dt="2022-03-09T14:39:18.037" v="927" actId="478"/>
          <ac:picMkLst>
            <pc:docMk/>
            <pc:sldMk cId="4072131230" sldId="2080108012"/>
            <ac:picMk id="5" creationId="{4207BB6C-B387-4E79-8701-B225D92A4006}"/>
          </ac:picMkLst>
        </pc:picChg>
        <pc:picChg chg="add mod">
          <ac:chgData name="Katerine Schifino" userId="37bb67de-9fcf-4611-888c-7e5b58184a2a" providerId="ADAL" clId="{492CA766-37C7-49E7-917E-99FEE8BB3045}" dt="2022-03-09T14:39:33.142" v="930" actId="1076"/>
          <ac:picMkLst>
            <pc:docMk/>
            <pc:sldMk cId="4072131230" sldId="2080108012"/>
            <ac:picMk id="6" creationId="{15AEC880-6424-4D2D-A43F-EB21D5E3EE22}"/>
          </ac:picMkLst>
        </pc:picChg>
      </pc:sldChg>
      <pc:sldChg chg="delSp modSp mod">
        <pc:chgData name="Katerine Schifino" userId="37bb67de-9fcf-4611-888c-7e5b58184a2a" providerId="ADAL" clId="{492CA766-37C7-49E7-917E-99FEE8BB3045}" dt="2022-03-09T16:20:34.788" v="2714" actId="2062"/>
        <pc:sldMkLst>
          <pc:docMk/>
          <pc:sldMk cId="3366330402" sldId="2080108015"/>
        </pc:sldMkLst>
        <pc:graphicFrameChg chg="mod modGraphic">
          <ac:chgData name="Katerine Schifino" userId="37bb67de-9fcf-4611-888c-7e5b58184a2a" providerId="ADAL" clId="{492CA766-37C7-49E7-917E-99FEE8BB3045}" dt="2022-03-09T16:20:34.788" v="2714" actId="2062"/>
          <ac:graphicFrameMkLst>
            <pc:docMk/>
            <pc:sldMk cId="3366330402" sldId="2080108015"/>
            <ac:graphicFrameMk id="2" creationId="{DABEA71B-03AC-48AD-8E3A-F5B4F36922D0}"/>
          </ac:graphicFrameMkLst>
        </pc:graphicFrameChg>
        <pc:picChg chg="del">
          <ac:chgData name="Katerine Schifino" userId="37bb67de-9fcf-4611-888c-7e5b58184a2a" providerId="ADAL" clId="{492CA766-37C7-49E7-917E-99FEE8BB3045}" dt="2022-03-09T16:19:16.989" v="2690" actId="478"/>
          <ac:picMkLst>
            <pc:docMk/>
            <pc:sldMk cId="3366330402" sldId="2080108015"/>
            <ac:picMk id="6" creationId="{3362A242-83F6-457B-8E60-D0DBE32F824C}"/>
          </ac:picMkLst>
        </pc:picChg>
      </pc:sldChg>
      <pc:sldChg chg="addSp delSp modSp add mod modClrScheme chgLayout">
        <pc:chgData name="Katerine Schifino" userId="37bb67de-9fcf-4611-888c-7e5b58184a2a" providerId="ADAL" clId="{492CA766-37C7-49E7-917E-99FEE8BB3045}" dt="2022-03-09T19:42:38.832" v="2959" actId="113"/>
        <pc:sldMkLst>
          <pc:docMk/>
          <pc:sldMk cId="1426497053" sldId="2080108116"/>
        </pc:sldMkLst>
        <pc:spChg chg="del">
          <ac:chgData name="Katerine Schifino" userId="37bb67de-9fcf-4611-888c-7e5b58184a2a" providerId="ADAL" clId="{492CA766-37C7-49E7-917E-99FEE8BB3045}" dt="2022-03-09T15:04:42.763" v="1266" actId="478"/>
          <ac:spMkLst>
            <pc:docMk/>
            <pc:sldMk cId="1426497053" sldId="2080108116"/>
            <ac:spMk id="2" creationId="{9F8533BC-6851-41EA-B835-326E5149DD86}"/>
          </ac:spMkLst>
        </pc:spChg>
        <pc:spChg chg="del mod">
          <ac:chgData name="Katerine Schifino" userId="37bb67de-9fcf-4611-888c-7e5b58184a2a" providerId="ADAL" clId="{492CA766-37C7-49E7-917E-99FEE8BB3045}" dt="2022-03-09T19:41:26.187" v="2946" actId="478"/>
          <ac:spMkLst>
            <pc:docMk/>
            <pc:sldMk cId="1426497053" sldId="2080108116"/>
            <ac:spMk id="3" creationId="{3A125754-156C-470B-BE62-4A35A172FB19}"/>
          </ac:spMkLst>
        </pc:spChg>
        <pc:spChg chg="del">
          <ac:chgData name="Katerine Schifino" userId="37bb67de-9fcf-4611-888c-7e5b58184a2a" providerId="ADAL" clId="{492CA766-37C7-49E7-917E-99FEE8BB3045}" dt="2022-03-09T15:04:52.913" v="1269" actId="478"/>
          <ac:spMkLst>
            <pc:docMk/>
            <pc:sldMk cId="1426497053" sldId="2080108116"/>
            <ac:spMk id="4" creationId="{CC71318B-9D64-4833-B76C-A3203D03CACC}"/>
          </ac:spMkLst>
        </pc:spChg>
        <pc:spChg chg="mod">
          <ac:chgData name="Katerine Schifino" userId="37bb67de-9fcf-4611-888c-7e5b58184a2a" providerId="ADAL" clId="{492CA766-37C7-49E7-917E-99FEE8BB3045}" dt="2022-03-09T19:42:38.832" v="2959" actId="113"/>
          <ac:spMkLst>
            <pc:docMk/>
            <pc:sldMk cId="1426497053" sldId="2080108116"/>
            <ac:spMk id="7" creationId="{3438D2E9-4802-4969-A164-540342800350}"/>
          </ac:spMkLst>
        </pc:spChg>
        <pc:spChg chg="del">
          <ac:chgData name="Katerine Schifino" userId="37bb67de-9fcf-4611-888c-7e5b58184a2a" providerId="ADAL" clId="{492CA766-37C7-49E7-917E-99FEE8BB3045}" dt="2022-03-09T15:04:44.177" v="1267" actId="478"/>
          <ac:spMkLst>
            <pc:docMk/>
            <pc:sldMk cId="1426497053" sldId="2080108116"/>
            <ac:spMk id="10" creationId="{C1985FAC-A35A-4481-AC0C-969E28415752}"/>
          </ac:spMkLst>
        </pc:spChg>
        <pc:spChg chg="add mod">
          <ac:chgData name="Katerine Schifino" userId="37bb67de-9fcf-4611-888c-7e5b58184a2a" providerId="ADAL" clId="{492CA766-37C7-49E7-917E-99FEE8BB3045}" dt="2022-03-09T15:12:18.388" v="1595" actId="164"/>
          <ac:spMkLst>
            <pc:docMk/>
            <pc:sldMk cId="1426497053" sldId="2080108116"/>
            <ac:spMk id="16" creationId="{A64088C0-89CA-41C6-99C4-C4F8745042DC}"/>
          </ac:spMkLst>
        </pc:spChg>
        <pc:grpChg chg="del mod">
          <ac:chgData name="Katerine Schifino" userId="37bb67de-9fcf-4611-888c-7e5b58184a2a" providerId="ADAL" clId="{492CA766-37C7-49E7-917E-99FEE8BB3045}" dt="2022-03-09T15:05:19.572" v="1274" actId="478"/>
          <ac:grpSpMkLst>
            <pc:docMk/>
            <pc:sldMk cId="1426497053" sldId="2080108116"/>
            <ac:grpSpMk id="6" creationId="{4E072351-1789-48DD-8E10-B925D5BC3991}"/>
          </ac:grpSpMkLst>
        </pc:grpChg>
        <pc:grpChg chg="add mod">
          <ac:chgData name="Katerine Schifino" userId="37bb67de-9fcf-4611-888c-7e5b58184a2a" providerId="ADAL" clId="{492CA766-37C7-49E7-917E-99FEE8BB3045}" dt="2022-03-09T15:12:18.388" v="1595" actId="164"/>
          <ac:grpSpMkLst>
            <pc:docMk/>
            <pc:sldMk cId="1426497053" sldId="2080108116"/>
            <ac:grpSpMk id="15" creationId="{F88B4913-E6D9-4550-BAB7-B144762708E1}"/>
          </ac:grpSpMkLst>
        </pc:grpChg>
        <pc:picChg chg="del mod">
          <ac:chgData name="Katerine Schifino" userId="37bb67de-9fcf-4611-888c-7e5b58184a2a" providerId="ADAL" clId="{492CA766-37C7-49E7-917E-99FEE8BB3045}" dt="2022-03-09T15:05:19.572" v="1274" actId="478"/>
          <ac:picMkLst>
            <pc:docMk/>
            <pc:sldMk cId="1426497053" sldId="2080108116"/>
            <ac:picMk id="8" creationId="{AC4F510B-4A8C-4F8E-BD92-4043C4CA80E5}"/>
          </ac:picMkLst>
        </pc:picChg>
        <pc:picChg chg="del">
          <ac:chgData name="Katerine Schifino" userId="37bb67de-9fcf-4611-888c-7e5b58184a2a" providerId="ADAL" clId="{492CA766-37C7-49E7-917E-99FEE8BB3045}" dt="2022-03-09T15:05:18.026" v="1273" actId="478"/>
          <ac:picMkLst>
            <pc:docMk/>
            <pc:sldMk cId="1426497053" sldId="2080108116"/>
            <ac:picMk id="9" creationId="{AF9CAD58-C690-4E03-B6D9-974F4FF8929C}"/>
          </ac:picMkLst>
        </pc:picChg>
        <pc:picChg chg="del mod">
          <ac:chgData name="Katerine Schifino" userId="37bb67de-9fcf-4611-888c-7e5b58184a2a" providerId="ADAL" clId="{492CA766-37C7-49E7-917E-99FEE8BB3045}" dt="2022-03-09T15:04:57.946" v="1271" actId="478"/>
          <ac:picMkLst>
            <pc:docMk/>
            <pc:sldMk cId="1426497053" sldId="2080108116"/>
            <ac:picMk id="11" creationId="{0EAF476B-74E4-4735-B19E-1730FADE113F}"/>
          </ac:picMkLst>
        </pc:picChg>
        <pc:picChg chg="del">
          <ac:chgData name="Katerine Schifino" userId="37bb67de-9fcf-4611-888c-7e5b58184a2a" providerId="ADAL" clId="{492CA766-37C7-49E7-917E-99FEE8BB3045}" dt="2022-03-09T15:04:58.946" v="1272" actId="478"/>
          <ac:picMkLst>
            <pc:docMk/>
            <pc:sldMk cId="1426497053" sldId="2080108116"/>
            <ac:picMk id="12" creationId="{B1B50A00-8E11-4B83-B3F0-C9656BD4E466}"/>
          </ac:picMkLst>
        </pc:picChg>
        <pc:picChg chg="add mod">
          <ac:chgData name="Katerine Schifino" userId="37bb67de-9fcf-4611-888c-7e5b58184a2a" providerId="ADAL" clId="{492CA766-37C7-49E7-917E-99FEE8BB3045}" dt="2022-03-09T15:12:18.388" v="1595" actId="164"/>
          <ac:picMkLst>
            <pc:docMk/>
            <pc:sldMk cId="1426497053" sldId="2080108116"/>
            <ac:picMk id="13" creationId="{07E7381A-82B7-4982-AE31-119E4A2D9E67}"/>
          </ac:picMkLst>
        </pc:picChg>
        <pc:picChg chg="add mod modCrop">
          <ac:chgData name="Katerine Schifino" userId="37bb67de-9fcf-4611-888c-7e5b58184a2a" providerId="ADAL" clId="{492CA766-37C7-49E7-917E-99FEE8BB3045}" dt="2022-03-09T19:41:51.349" v="2954" actId="14100"/>
          <ac:picMkLst>
            <pc:docMk/>
            <pc:sldMk cId="1426497053" sldId="2080108116"/>
            <ac:picMk id="18" creationId="{C7CCFAF8-6A8E-4EFA-A4D2-AAD2340E5380}"/>
          </ac:picMkLst>
        </pc:picChg>
        <pc:picChg chg="add mod">
          <ac:chgData name="Katerine Schifino" userId="37bb67de-9fcf-4611-888c-7e5b58184a2a" providerId="ADAL" clId="{492CA766-37C7-49E7-917E-99FEE8BB3045}" dt="2022-03-09T15:11:01.893" v="1559"/>
          <ac:picMkLst>
            <pc:docMk/>
            <pc:sldMk cId="1426497053" sldId="2080108116"/>
            <ac:picMk id="3074" creationId="{5B278266-C96B-4389-91CA-C0E1FB3B1299}"/>
          </ac:picMkLst>
        </pc:picChg>
        <pc:picChg chg="add del">
          <ac:chgData name="Katerine Schifino" userId="37bb67de-9fcf-4611-888c-7e5b58184a2a" providerId="ADAL" clId="{492CA766-37C7-49E7-917E-99FEE8BB3045}" dt="2022-03-09T19:41:05.761" v="2942" actId="478"/>
          <ac:picMkLst>
            <pc:docMk/>
            <pc:sldMk cId="1426497053" sldId="2080108116"/>
            <ac:picMk id="3076" creationId="{DB1AFFD2-8269-400D-A4CF-37C35AE4FAA1}"/>
          </ac:picMkLst>
        </pc:picChg>
      </pc:sldChg>
      <pc:sldChg chg="modSp mod">
        <pc:chgData name="Katerine Schifino" userId="37bb67de-9fcf-4611-888c-7e5b58184a2a" providerId="ADAL" clId="{492CA766-37C7-49E7-917E-99FEE8BB3045}" dt="2022-03-09T16:24:39.998" v="2809" actId="20577"/>
        <pc:sldMkLst>
          <pc:docMk/>
          <pc:sldMk cId="4057349764" sldId="2146846065"/>
        </pc:sldMkLst>
        <pc:graphicFrameChg chg="mod modGraphic">
          <ac:chgData name="Katerine Schifino" userId="37bb67de-9fcf-4611-888c-7e5b58184a2a" providerId="ADAL" clId="{492CA766-37C7-49E7-917E-99FEE8BB3045}" dt="2022-03-09T16:24:39.998" v="2809" actId="20577"/>
          <ac:graphicFrameMkLst>
            <pc:docMk/>
            <pc:sldMk cId="4057349764" sldId="2146846065"/>
            <ac:graphicFrameMk id="2" creationId="{DABEA71B-03AC-48AD-8E3A-F5B4F36922D0}"/>
          </ac:graphicFrameMkLst>
        </pc:graphicFrameChg>
      </pc:sldChg>
      <pc:sldChg chg="addSp modSp del mod">
        <pc:chgData name="Katerine Schifino" userId="37bb67de-9fcf-4611-888c-7e5b58184a2a" providerId="ADAL" clId="{492CA766-37C7-49E7-917E-99FEE8BB3045}" dt="2022-03-14T14:10:41.054" v="3958" actId="47"/>
        <pc:sldMkLst>
          <pc:docMk/>
          <pc:sldMk cId="1390084327" sldId="2146846067"/>
        </pc:sldMkLst>
        <pc:spChg chg="mod">
          <ac:chgData name="Katerine Schifino" userId="37bb67de-9fcf-4611-888c-7e5b58184a2a" providerId="ADAL" clId="{492CA766-37C7-49E7-917E-99FEE8BB3045}" dt="2022-03-14T13:38:29.186" v="3956" actId="14100"/>
          <ac:spMkLst>
            <pc:docMk/>
            <pc:sldMk cId="1390084327" sldId="2146846067"/>
            <ac:spMk id="4" creationId="{2ED80763-D8A0-45A2-9778-83954983BC11}"/>
          </ac:spMkLst>
        </pc:spChg>
        <pc:picChg chg="add mod">
          <ac:chgData name="Katerine Schifino" userId="37bb67de-9fcf-4611-888c-7e5b58184a2a" providerId="ADAL" clId="{492CA766-37C7-49E7-917E-99FEE8BB3045}" dt="2022-03-14T13:38:05.446" v="3955"/>
          <ac:picMkLst>
            <pc:docMk/>
            <pc:sldMk cId="1390084327" sldId="2146846067"/>
            <ac:picMk id="5" creationId="{B305597F-6A3A-4525-BDBD-670786067270}"/>
          </ac:picMkLst>
        </pc:picChg>
      </pc:sldChg>
      <pc:sldChg chg="modSp mod ord">
        <pc:chgData name="Katerine Schifino" userId="37bb67de-9fcf-4611-888c-7e5b58184a2a" providerId="ADAL" clId="{492CA766-37C7-49E7-917E-99FEE8BB3045}" dt="2022-03-09T15:02:18.347" v="1254" actId="13926"/>
        <pc:sldMkLst>
          <pc:docMk/>
          <pc:sldMk cId="3769645891" sldId="2146846068"/>
        </pc:sldMkLst>
        <pc:spChg chg="mod">
          <ac:chgData name="Katerine Schifino" userId="37bb67de-9fcf-4611-888c-7e5b58184a2a" providerId="ADAL" clId="{492CA766-37C7-49E7-917E-99FEE8BB3045}" dt="2022-03-09T15:02:18.347" v="1254" actId="13926"/>
          <ac:spMkLst>
            <pc:docMk/>
            <pc:sldMk cId="3769645891" sldId="2146846068"/>
            <ac:spMk id="2" creationId="{C0E9A057-F805-4750-9C97-49B491EDA40C}"/>
          </ac:spMkLst>
        </pc:spChg>
        <pc:spChg chg="mod">
          <ac:chgData name="Katerine Schifino" userId="37bb67de-9fcf-4611-888c-7e5b58184a2a" providerId="ADAL" clId="{492CA766-37C7-49E7-917E-99FEE8BB3045}" dt="2022-03-09T14:50:07.148" v="991" actId="20577"/>
          <ac:spMkLst>
            <pc:docMk/>
            <pc:sldMk cId="3769645891" sldId="2146846068"/>
            <ac:spMk id="3" creationId="{F4A95292-C17D-4596-AC2A-D617A46EBAA8}"/>
          </ac:spMkLst>
        </pc:spChg>
      </pc:sldChg>
      <pc:sldChg chg="del">
        <pc:chgData name="Katerine Schifino" userId="37bb67de-9fcf-4611-888c-7e5b58184a2a" providerId="ADAL" clId="{492CA766-37C7-49E7-917E-99FEE8BB3045}" dt="2022-03-09T14:40:53.997" v="931" actId="47"/>
        <pc:sldMkLst>
          <pc:docMk/>
          <pc:sldMk cId="555850471" sldId="2146846069"/>
        </pc:sldMkLst>
      </pc:sldChg>
      <pc:sldChg chg="modSp mod addCm delCm">
        <pc:chgData name="Katerine Schifino" userId="37bb67de-9fcf-4611-888c-7e5b58184a2a" providerId="ADAL" clId="{492CA766-37C7-49E7-917E-99FEE8BB3045}" dt="2022-03-09T14:47:31.236" v="973" actId="1076"/>
        <pc:sldMkLst>
          <pc:docMk/>
          <pc:sldMk cId="4180197559" sldId="2146846071"/>
        </pc:sldMkLst>
        <pc:spChg chg="mod">
          <ac:chgData name="Katerine Schifino" userId="37bb67de-9fcf-4611-888c-7e5b58184a2a" providerId="ADAL" clId="{492CA766-37C7-49E7-917E-99FEE8BB3045}" dt="2022-03-09T13:18:07.170" v="65" actId="6549"/>
          <ac:spMkLst>
            <pc:docMk/>
            <pc:sldMk cId="4180197559" sldId="2146846071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09T14:46:55.658" v="963" actId="1076"/>
          <ac:spMkLst>
            <pc:docMk/>
            <pc:sldMk cId="4180197559" sldId="2146846071"/>
            <ac:spMk id="4" creationId="{7504F8EF-3D40-4067-9FEF-5028299DDC11}"/>
          </ac:spMkLst>
        </pc:spChg>
        <pc:spChg chg="mod">
          <ac:chgData name="Katerine Schifino" userId="37bb67de-9fcf-4611-888c-7e5b58184a2a" providerId="ADAL" clId="{492CA766-37C7-49E7-917E-99FEE8BB3045}" dt="2022-03-09T14:47:04.327" v="964" actId="1076"/>
          <ac:spMkLst>
            <pc:docMk/>
            <pc:sldMk cId="4180197559" sldId="2146846071"/>
            <ac:spMk id="5" creationId="{D9850037-D7A2-457D-9ADB-F7F097BCB3B1}"/>
          </ac:spMkLst>
        </pc:spChg>
        <pc:spChg chg="mod">
          <ac:chgData name="Katerine Schifino" userId="37bb67de-9fcf-4611-888c-7e5b58184a2a" providerId="ADAL" clId="{492CA766-37C7-49E7-917E-99FEE8BB3045}" dt="2022-03-09T14:47:27.787" v="972" actId="1076"/>
          <ac:spMkLst>
            <pc:docMk/>
            <pc:sldMk cId="4180197559" sldId="2146846071"/>
            <ac:spMk id="7" creationId="{0E90C0D4-D0BD-45D6-BBF0-7A575360FB1A}"/>
          </ac:spMkLst>
        </pc:spChg>
        <pc:spChg chg="mod">
          <ac:chgData name="Katerine Schifino" userId="37bb67de-9fcf-4611-888c-7e5b58184a2a" providerId="ADAL" clId="{492CA766-37C7-49E7-917E-99FEE8BB3045}" dt="2022-03-09T14:47:31.236" v="973" actId="1076"/>
          <ac:spMkLst>
            <pc:docMk/>
            <pc:sldMk cId="4180197559" sldId="2146846071"/>
            <ac:spMk id="10" creationId="{A5B12F80-DF72-4288-96C7-59EB50B81B32}"/>
          </ac:spMkLst>
        </pc:spChg>
        <pc:spChg chg="mod">
          <ac:chgData name="Katerine Schifino" userId="37bb67de-9fcf-4611-888c-7e5b58184a2a" providerId="ADAL" clId="{492CA766-37C7-49E7-917E-99FEE8BB3045}" dt="2022-03-09T14:47:25.926" v="971" actId="1076"/>
          <ac:spMkLst>
            <pc:docMk/>
            <pc:sldMk cId="4180197559" sldId="2146846071"/>
            <ac:spMk id="12" creationId="{1503C958-514F-4ADD-B389-5EE838BE0E8D}"/>
          </ac:spMkLst>
        </pc:spChg>
      </pc:sldChg>
      <pc:sldChg chg="del">
        <pc:chgData name="Katerine Schifino" userId="37bb67de-9fcf-4611-888c-7e5b58184a2a" providerId="ADAL" clId="{492CA766-37C7-49E7-917E-99FEE8BB3045}" dt="2022-03-09T15:01:14.716" v="1247" actId="47"/>
        <pc:sldMkLst>
          <pc:docMk/>
          <pc:sldMk cId="861993220" sldId="2146846072"/>
        </pc:sldMkLst>
      </pc:sldChg>
      <pc:sldChg chg="addSp delSp modSp add mod">
        <pc:chgData name="Katerine Schifino" userId="37bb67de-9fcf-4611-888c-7e5b58184a2a" providerId="ADAL" clId="{492CA766-37C7-49E7-917E-99FEE8BB3045}" dt="2022-03-09T20:12:34.540" v="3140" actId="13926"/>
        <pc:sldMkLst>
          <pc:docMk/>
          <pc:sldMk cId="712470240" sldId="2146846073"/>
        </pc:sldMkLst>
        <pc:spChg chg="mod">
          <ac:chgData name="Katerine Schifino" userId="37bb67de-9fcf-4611-888c-7e5b58184a2a" providerId="ADAL" clId="{492CA766-37C7-49E7-917E-99FEE8BB3045}" dt="2022-03-09T15:52:10.480" v="1978" actId="20577"/>
          <ac:spMkLst>
            <pc:docMk/>
            <pc:sldMk cId="712470240" sldId="2146846073"/>
            <ac:spMk id="3" creationId="{D27D7BD4-79A4-4F74-AEDD-B6DF3D38FA7F}"/>
          </ac:spMkLst>
        </pc:spChg>
        <pc:spChg chg="add mod">
          <ac:chgData name="Katerine Schifino" userId="37bb67de-9fcf-4611-888c-7e5b58184a2a" providerId="ADAL" clId="{492CA766-37C7-49E7-917E-99FEE8BB3045}" dt="2022-03-09T16:09:56.659" v="2584" actId="164"/>
          <ac:spMkLst>
            <pc:docMk/>
            <pc:sldMk cId="712470240" sldId="2146846073"/>
            <ac:spMk id="5" creationId="{7D9354DC-5CC4-4010-9183-2BED901884E6}"/>
          </ac:spMkLst>
        </pc:spChg>
        <pc:spChg chg="add mod">
          <ac:chgData name="Katerine Schifino" userId="37bb67de-9fcf-4611-888c-7e5b58184a2a" providerId="ADAL" clId="{492CA766-37C7-49E7-917E-99FEE8BB3045}" dt="2022-03-09T16:09:56.659" v="2584" actId="164"/>
          <ac:spMkLst>
            <pc:docMk/>
            <pc:sldMk cId="712470240" sldId="2146846073"/>
            <ac:spMk id="6" creationId="{0CDCC2EF-246E-4F21-A317-3BF2002E2566}"/>
          </ac:spMkLst>
        </pc:spChg>
        <pc:spChg chg="add mod">
          <ac:chgData name="Katerine Schifino" userId="37bb67de-9fcf-4611-888c-7e5b58184a2a" providerId="ADAL" clId="{492CA766-37C7-49E7-917E-99FEE8BB3045}" dt="2022-03-09T16:09:56.659" v="2584" actId="164"/>
          <ac:spMkLst>
            <pc:docMk/>
            <pc:sldMk cId="712470240" sldId="2146846073"/>
            <ac:spMk id="7" creationId="{AE1E355F-38DB-4F9F-878E-F2F39A426625}"/>
          </ac:spMkLst>
        </pc:spChg>
        <pc:spChg chg="add mod">
          <ac:chgData name="Katerine Schifino" userId="37bb67de-9fcf-4611-888c-7e5b58184a2a" providerId="ADAL" clId="{492CA766-37C7-49E7-917E-99FEE8BB3045}" dt="2022-03-09T16:09:56.659" v="2584" actId="164"/>
          <ac:spMkLst>
            <pc:docMk/>
            <pc:sldMk cId="712470240" sldId="2146846073"/>
            <ac:spMk id="8" creationId="{A2BD699A-68FF-4C55-AAC0-3FAEF1407054}"/>
          </ac:spMkLst>
        </pc:spChg>
        <pc:spChg chg="add mod">
          <ac:chgData name="Katerine Schifino" userId="37bb67de-9fcf-4611-888c-7e5b58184a2a" providerId="ADAL" clId="{492CA766-37C7-49E7-917E-99FEE8BB3045}" dt="2022-03-09T16:09:56.659" v="2584" actId="164"/>
          <ac:spMkLst>
            <pc:docMk/>
            <pc:sldMk cId="712470240" sldId="2146846073"/>
            <ac:spMk id="9" creationId="{15BEE31B-5781-4B16-9E0F-02B4A20FAAED}"/>
          </ac:spMkLst>
        </pc:spChg>
        <pc:spChg chg="add mod">
          <ac:chgData name="Katerine Schifino" userId="37bb67de-9fcf-4611-888c-7e5b58184a2a" providerId="ADAL" clId="{492CA766-37C7-49E7-917E-99FEE8BB3045}" dt="2022-03-09T20:12:34.540" v="3140" actId="13926"/>
          <ac:spMkLst>
            <pc:docMk/>
            <pc:sldMk cId="712470240" sldId="2146846073"/>
            <ac:spMk id="30" creationId="{D8157CB6-4DF4-43E1-8A7F-40D04CEFD42B}"/>
          </ac:spMkLst>
        </pc:spChg>
        <pc:grpChg chg="add mod">
          <ac:chgData name="Katerine Schifino" userId="37bb67de-9fcf-4611-888c-7e5b58184a2a" providerId="ADAL" clId="{492CA766-37C7-49E7-917E-99FEE8BB3045}" dt="2022-03-09T20:12:06.038" v="3134" actId="1037"/>
          <ac:grpSpMkLst>
            <pc:docMk/>
            <pc:sldMk cId="712470240" sldId="2146846073"/>
            <ac:grpSpMk id="10" creationId="{B4B43A47-6457-49A6-8EE2-A695193BF980}"/>
          </ac:grpSpMkLst>
        </pc:grpChg>
        <pc:grpChg chg="add mod">
          <ac:chgData name="Katerine Schifino" userId="37bb67de-9fcf-4611-888c-7e5b58184a2a" providerId="ADAL" clId="{492CA766-37C7-49E7-917E-99FEE8BB3045}" dt="2022-03-09T20:12:06.038" v="3134" actId="1037"/>
          <ac:grpSpMkLst>
            <pc:docMk/>
            <pc:sldMk cId="712470240" sldId="2146846073"/>
            <ac:grpSpMk id="19" creationId="{CF631584-7E49-4E86-8E81-CD6275F6C785}"/>
          </ac:grpSpMkLst>
        </pc:grpChg>
        <pc:grpChg chg="add mod">
          <ac:chgData name="Katerine Schifino" userId="37bb67de-9fcf-4611-888c-7e5b58184a2a" providerId="ADAL" clId="{492CA766-37C7-49E7-917E-99FEE8BB3045}" dt="2022-03-09T20:12:06.038" v="3134" actId="1037"/>
          <ac:grpSpMkLst>
            <pc:docMk/>
            <pc:sldMk cId="712470240" sldId="2146846073"/>
            <ac:grpSpMk id="23" creationId="{A2CDDBF8-4862-4521-9F9B-AD100E77F5F9}"/>
          </ac:grpSpMkLst>
        </pc:grpChg>
        <pc:graphicFrameChg chg="add mod modGraphic">
          <ac:chgData name="Katerine Schifino" userId="37bb67de-9fcf-4611-888c-7e5b58184a2a" providerId="ADAL" clId="{492CA766-37C7-49E7-917E-99FEE8BB3045}" dt="2022-03-09T20:12:06.038" v="3134" actId="1037"/>
          <ac:graphicFrameMkLst>
            <pc:docMk/>
            <pc:sldMk cId="712470240" sldId="2146846073"/>
            <ac:graphicFrameMk id="4" creationId="{326B6A2F-F2C7-4441-BB0F-3A06BF275B7F}"/>
          </ac:graphicFrameMkLst>
        </pc:graphicFrameChg>
        <pc:picChg chg="del mod">
          <ac:chgData name="Katerine Schifino" userId="37bb67de-9fcf-4611-888c-7e5b58184a2a" providerId="ADAL" clId="{492CA766-37C7-49E7-917E-99FEE8BB3045}" dt="2022-03-09T16:06:20.760" v="2541" actId="478"/>
          <ac:picMkLst>
            <pc:docMk/>
            <pc:sldMk cId="712470240" sldId="2146846073"/>
            <ac:picMk id="2" creationId="{3A6E22DD-C012-4944-A95D-6B53D459499F}"/>
          </ac:picMkLst>
        </pc:picChg>
        <pc:picChg chg="add mod">
          <ac:chgData name="Katerine Schifino" userId="37bb67de-9fcf-4611-888c-7e5b58184a2a" providerId="ADAL" clId="{492CA766-37C7-49E7-917E-99FEE8BB3045}" dt="2022-03-09T20:12:06.038" v="3134" actId="1037"/>
          <ac:picMkLst>
            <pc:docMk/>
            <pc:sldMk cId="712470240" sldId="2146846073"/>
            <ac:picMk id="12" creationId="{99840CD3-749B-4C75-B90F-8DB28CBD5C4C}"/>
          </ac:picMkLst>
        </pc:picChg>
        <pc:picChg chg="add mod">
          <ac:chgData name="Katerine Schifino" userId="37bb67de-9fcf-4611-888c-7e5b58184a2a" providerId="ADAL" clId="{492CA766-37C7-49E7-917E-99FEE8BB3045}" dt="2022-03-09T20:12:06.038" v="3134" actId="1037"/>
          <ac:picMkLst>
            <pc:docMk/>
            <pc:sldMk cId="712470240" sldId="2146846073"/>
            <ac:picMk id="14" creationId="{3F9525FD-F953-4DA6-894B-697C087CD3CD}"/>
          </ac:picMkLst>
        </pc:picChg>
        <pc:picChg chg="add mod">
          <ac:chgData name="Katerine Schifino" userId="37bb67de-9fcf-4611-888c-7e5b58184a2a" providerId="ADAL" clId="{492CA766-37C7-49E7-917E-99FEE8BB3045}" dt="2022-03-09T16:14:07.758" v="2638" actId="1076"/>
          <ac:picMkLst>
            <pc:docMk/>
            <pc:sldMk cId="712470240" sldId="2146846073"/>
            <ac:picMk id="16" creationId="{812FC9E2-BA2C-44E6-B39B-18F346ED3BEF}"/>
          </ac:picMkLst>
        </pc:picChg>
        <pc:picChg chg="add mod ord">
          <ac:chgData name="Katerine Schifino" userId="37bb67de-9fcf-4611-888c-7e5b58184a2a" providerId="ADAL" clId="{492CA766-37C7-49E7-917E-99FEE8BB3045}" dt="2022-03-09T16:13:56.339" v="2634" actId="14100"/>
          <ac:picMkLst>
            <pc:docMk/>
            <pc:sldMk cId="712470240" sldId="2146846073"/>
            <ac:picMk id="18" creationId="{D4B0E928-F7F8-4E76-9D01-032E3CE43909}"/>
          </ac:picMkLst>
        </pc:picChg>
        <pc:picChg chg="add mod">
          <ac:chgData name="Katerine Schifino" userId="37bb67de-9fcf-4611-888c-7e5b58184a2a" providerId="ADAL" clId="{492CA766-37C7-49E7-917E-99FEE8BB3045}" dt="2022-03-09T16:15:27.274" v="2665" actId="164"/>
          <ac:picMkLst>
            <pc:docMk/>
            <pc:sldMk cId="712470240" sldId="2146846073"/>
            <ac:picMk id="21" creationId="{8667FC2C-1F7D-4B0A-892C-7A381A59CF61}"/>
          </ac:picMkLst>
        </pc:picChg>
        <pc:picChg chg="add mod modCrop">
          <ac:chgData name="Katerine Schifino" userId="37bb67de-9fcf-4611-888c-7e5b58184a2a" providerId="ADAL" clId="{492CA766-37C7-49E7-917E-99FEE8BB3045}" dt="2022-03-09T16:15:27.274" v="2665" actId="164"/>
          <ac:picMkLst>
            <pc:docMk/>
            <pc:sldMk cId="712470240" sldId="2146846073"/>
            <ac:picMk id="22" creationId="{0D19FE81-0A88-4506-9810-2A711F65E93D}"/>
          </ac:picMkLst>
        </pc:picChg>
        <pc:picChg chg="add del mod ord">
          <ac:chgData name="Katerine Schifino" userId="37bb67de-9fcf-4611-888c-7e5b58184a2a" providerId="ADAL" clId="{492CA766-37C7-49E7-917E-99FEE8BB3045}" dt="2022-03-09T16:17:07.592" v="2679" actId="478"/>
          <ac:picMkLst>
            <pc:docMk/>
            <pc:sldMk cId="712470240" sldId="2146846073"/>
            <ac:picMk id="25" creationId="{6C53EA0B-CA62-4C8E-85B3-B5A44666F68C}"/>
          </ac:picMkLst>
        </pc:picChg>
        <pc:picChg chg="add mod">
          <ac:chgData name="Katerine Schifino" userId="37bb67de-9fcf-4611-888c-7e5b58184a2a" providerId="ADAL" clId="{492CA766-37C7-49E7-917E-99FEE8BB3045}" dt="2022-03-09T20:12:06.038" v="3134" actId="1037"/>
          <ac:picMkLst>
            <pc:docMk/>
            <pc:sldMk cId="712470240" sldId="2146846073"/>
            <ac:picMk id="27" creationId="{E50DBF20-B1F7-45DE-9E7D-7DF5DF8C285E}"/>
          </ac:picMkLst>
        </pc:picChg>
        <pc:picChg chg="add mod">
          <ac:chgData name="Katerine Schifino" userId="37bb67de-9fcf-4611-888c-7e5b58184a2a" providerId="ADAL" clId="{492CA766-37C7-49E7-917E-99FEE8BB3045}" dt="2022-03-09T20:12:06.038" v="3134" actId="1037"/>
          <ac:picMkLst>
            <pc:docMk/>
            <pc:sldMk cId="712470240" sldId="2146846073"/>
            <ac:picMk id="29" creationId="{505C2299-8E21-4BB5-9277-7D1C3E37222B}"/>
          </ac:picMkLst>
        </pc:picChg>
      </pc:sldChg>
      <pc:sldChg chg="del">
        <pc:chgData name="Katerine Schifino" userId="37bb67de-9fcf-4611-888c-7e5b58184a2a" providerId="ADAL" clId="{492CA766-37C7-49E7-917E-99FEE8BB3045}" dt="2022-03-09T15:01:17.759" v="1248" actId="2696"/>
        <pc:sldMkLst>
          <pc:docMk/>
          <pc:sldMk cId="1248321786" sldId="2146846073"/>
        </pc:sldMkLst>
      </pc:sldChg>
      <pc:sldChg chg="modSp mod">
        <pc:chgData name="Katerine Schifino" userId="37bb67de-9fcf-4611-888c-7e5b58184a2a" providerId="ADAL" clId="{492CA766-37C7-49E7-917E-99FEE8BB3045}" dt="2022-03-09T14:23:41.407" v="816" actId="20577"/>
        <pc:sldMkLst>
          <pc:docMk/>
          <pc:sldMk cId="3012924003" sldId="2146846074"/>
        </pc:sldMkLst>
        <pc:spChg chg="mod">
          <ac:chgData name="Katerine Schifino" userId="37bb67de-9fcf-4611-888c-7e5b58184a2a" providerId="ADAL" clId="{492CA766-37C7-49E7-917E-99FEE8BB3045}" dt="2022-03-09T14:19:55.191" v="731"/>
          <ac:spMkLst>
            <pc:docMk/>
            <pc:sldMk cId="3012924003" sldId="2146846074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09T14:23:41.407" v="816" actId="20577"/>
          <ac:spMkLst>
            <pc:docMk/>
            <pc:sldMk cId="3012924003" sldId="2146846074"/>
            <ac:spMk id="4" creationId="{7504F8EF-3D40-4067-9FEF-5028299DDC11}"/>
          </ac:spMkLst>
        </pc:spChg>
        <pc:spChg chg="mod">
          <ac:chgData name="Katerine Schifino" userId="37bb67de-9fcf-4611-888c-7e5b58184a2a" providerId="ADAL" clId="{492CA766-37C7-49E7-917E-99FEE8BB3045}" dt="2022-03-09T14:20:08.436" v="734" actId="20577"/>
          <ac:spMkLst>
            <pc:docMk/>
            <pc:sldMk cId="3012924003" sldId="2146846074"/>
            <ac:spMk id="11" creationId="{B424CB56-823B-445C-9577-2CB6DDE1B33B}"/>
          </ac:spMkLst>
        </pc:spChg>
        <pc:picChg chg="mod">
          <ac:chgData name="Katerine Schifino" userId="37bb67de-9fcf-4611-888c-7e5b58184a2a" providerId="ADAL" clId="{492CA766-37C7-49E7-917E-99FEE8BB3045}" dt="2022-03-09T14:20:11.427" v="735" actId="1076"/>
          <ac:picMkLst>
            <pc:docMk/>
            <pc:sldMk cId="3012924003" sldId="2146846074"/>
            <ac:picMk id="14" creationId="{8E5BFA40-0BCE-44A9-938F-7C22F35BAAEB}"/>
          </ac:picMkLst>
        </pc:picChg>
      </pc:sldChg>
      <pc:sldChg chg="addSp delSp modSp mod">
        <pc:chgData name="Katerine Schifino" userId="37bb67de-9fcf-4611-888c-7e5b58184a2a" providerId="ADAL" clId="{492CA766-37C7-49E7-917E-99FEE8BB3045}" dt="2022-03-09T14:37:40.921" v="912"/>
        <pc:sldMkLst>
          <pc:docMk/>
          <pc:sldMk cId="4122836090" sldId="2146846075"/>
        </pc:sldMkLst>
        <pc:spChg chg="del">
          <ac:chgData name="Katerine Schifino" userId="37bb67de-9fcf-4611-888c-7e5b58184a2a" providerId="ADAL" clId="{492CA766-37C7-49E7-917E-99FEE8BB3045}" dt="2022-03-09T14:35:26.847" v="898" actId="478"/>
          <ac:spMkLst>
            <pc:docMk/>
            <pc:sldMk cId="4122836090" sldId="2146846075"/>
            <ac:spMk id="3" creationId="{D27D7BD4-79A4-4F74-AEDD-B6DF3D38FA7F}"/>
          </ac:spMkLst>
        </pc:spChg>
        <pc:spChg chg="add mod">
          <ac:chgData name="Katerine Schifino" userId="37bb67de-9fcf-4611-888c-7e5b58184a2a" providerId="ADAL" clId="{492CA766-37C7-49E7-917E-99FEE8BB3045}" dt="2022-03-09T14:35:31.057" v="899"/>
          <ac:spMkLst>
            <pc:docMk/>
            <pc:sldMk cId="4122836090" sldId="2146846075"/>
            <ac:spMk id="9" creationId="{2FCFE592-530A-4651-998D-F0856801D1AF}"/>
          </ac:spMkLst>
        </pc:spChg>
        <pc:spChg chg="mod">
          <ac:chgData name="Katerine Schifino" userId="37bb67de-9fcf-4611-888c-7e5b58184a2a" providerId="ADAL" clId="{492CA766-37C7-49E7-917E-99FEE8BB3045}" dt="2022-03-09T14:35:42.826" v="900"/>
          <ac:spMkLst>
            <pc:docMk/>
            <pc:sldMk cId="4122836090" sldId="2146846075"/>
            <ac:spMk id="11" creationId="{F74AEC07-E85F-4073-8C19-F3127E279015}"/>
          </ac:spMkLst>
        </pc:spChg>
        <pc:spChg chg="mod">
          <ac:chgData name="Katerine Schifino" userId="37bb67de-9fcf-4611-888c-7e5b58184a2a" providerId="ADAL" clId="{492CA766-37C7-49E7-917E-99FEE8BB3045}" dt="2022-03-09T14:37:40.787" v="911"/>
          <ac:spMkLst>
            <pc:docMk/>
            <pc:sldMk cId="4122836090" sldId="2146846075"/>
            <ac:spMk id="12" creationId="{91CECFEF-FEFA-4593-A199-D8A9623C8C5B}"/>
          </ac:spMkLst>
        </pc:spChg>
        <pc:spChg chg="mod">
          <ac:chgData name="Katerine Schifino" userId="37bb67de-9fcf-4611-888c-7e5b58184a2a" providerId="ADAL" clId="{492CA766-37C7-49E7-917E-99FEE8BB3045}" dt="2022-03-09T14:37:40.921" v="912"/>
          <ac:spMkLst>
            <pc:docMk/>
            <pc:sldMk cId="4122836090" sldId="2146846075"/>
            <ac:spMk id="13" creationId="{0CC1DEC0-02FA-4074-9C99-500B9CED8FE2}"/>
          </ac:spMkLst>
        </pc:spChg>
        <pc:picChg chg="mod">
          <ac:chgData name="Katerine Schifino" userId="37bb67de-9fcf-4611-888c-7e5b58184a2a" providerId="ADAL" clId="{492CA766-37C7-49E7-917E-99FEE8BB3045}" dt="2022-03-09T14:37:37.917" v="907" actId="1076"/>
          <ac:picMkLst>
            <pc:docMk/>
            <pc:sldMk cId="4122836090" sldId="2146846075"/>
            <ac:picMk id="10" creationId="{846E2FC0-77AB-42F1-8A0F-2DFD6764B5D6}"/>
          </ac:picMkLst>
        </pc:picChg>
      </pc:sldChg>
      <pc:sldChg chg="addSp delSp modSp mod">
        <pc:chgData name="Katerine Schifino" userId="37bb67de-9fcf-4611-888c-7e5b58184a2a" providerId="ADAL" clId="{492CA766-37C7-49E7-917E-99FEE8BB3045}" dt="2022-03-09T14:35:20.051" v="897" actId="1036"/>
        <pc:sldMkLst>
          <pc:docMk/>
          <pc:sldMk cId="1404460967" sldId="2146846076"/>
        </pc:sldMkLst>
        <pc:spChg chg="del">
          <ac:chgData name="Katerine Schifino" userId="37bb67de-9fcf-4611-888c-7e5b58184a2a" providerId="ADAL" clId="{492CA766-37C7-49E7-917E-99FEE8BB3045}" dt="2022-03-09T14:31:51.539" v="849" actId="478"/>
          <ac:spMkLst>
            <pc:docMk/>
            <pc:sldMk cId="1404460967" sldId="2146846076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09T14:35:20.051" v="897" actId="1036"/>
          <ac:spMkLst>
            <pc:docMk/>
            <pc:sldMk cId="1404460967" sldId="2146846076"/>
            <ac:spMk id="6" creationId="{71A25CD7-6CCF-4E2A-9B2D-BB50E91B49CE}"/>
          </ac:spMkLst>
        </pc:spChg>
        <pc:spChg chg="add del mod">
          <ac:chgData name="Katerine Schifino" userId="37bb67de-9fcf-4611-888c-7e5b58184a2a" providerId="ADAL" clId="{492CA766-37C7-49E7-917E-99FEE8BB3045}" dt="2022-03-09T14:31:55.748" v="850" actId="478"/>
          <ac:spMkLst>
            <pc:docMk/>
            <pc:sldMk cId="1404460967" sldId="2146846076"/>
            <ac:spMk id="13" creationId="{49C528A4-DAA3-4D33-868E-B737F7B977A8}"/>
          </ac:spMkLst>
        </pc:spChg>
        <pc:spChg chg="add mod">
          <ac:chgData name="Katerine Schifino" userId="37bb67de-9fcf-4611-888c-7e5b58184a2a" providerId="ADAL" clId="{492CA766-37C7-49E7-917E-99FEE8BB3045}" dt="2022-03-09T14:31:59.089" v="851"/>
          <ac:spMkLst>
            <pc:docMk/>
            <pc:sldMk cId="1404460967" sldId="2146846076"/>
            <ac:spMk id="15" creationId="{8A9F9442-1CAD-4AD8-9F4E-5FE9AB029F92}"/>
          </ac:spMkLst>
        </pc:spChg>
        <pc:spChg chg="mod">
          <ac:chgData name="Katerine Schifino" userId="37bb67de-9fcf-4611-888c-7e5b58184a2a" providerId="ADAL" clId="{492CA766-37C7-49E7-917E-99FEE8BB3045}" dt="2022-03-09T14:35:15.997" v="881" actId="1076"/>
          <ac:spMkLst>
            <pc:docMk/>
            <pc:sldMk cId="1404460967" sldId="2146846076"/>
            <ac:spMk id="19" creationId="{2A37B2C1-EC96-4DAE-9234-FCB90C5F3AA4}"/>
          </ac:spMkLst>
        </pc:spChg>
        <pc:picChg chg="mod">
          <ac:chgData name="Katerine Schifino" userId="37bb67de-9fcf-4611-888c-7e5b58184a2a" providerId="ADAL" clId="{492CA766-37C7-49E7-917E-99FEE8BB3045}" dt="2022-03-09T14:35:20.051" v="897" actId="1036"/>
          <ac:picMkLst>
            <pc:docMk/>
            <pc:sldMk cId="1404460967" sldId="2146846076"/>
            <ac:picMk id="5" creationId="{811F8E85-77A5-4D98-AD38-895E6E8EFBEE}"/>
          </ac:picMkLst>
        </pc:picChg>
        <pc:picChg chg="mod">
          <ac:chgData name="Katerine Schifino" userId="37bb67de-9fcf-4611-888c-7e5b58184a2a" providerId="ADAL" clId="{492CA766-37C7-49E7-917E-99FEE8BB3045}" dt="2022-03-09T14:35:20.051" v="897" actId="1036"/>
          <ac:picMkLst>
            <pc:docMk/>
            <pc:sldMk cId="1404460967" sldId="2146846076"/>
            <ac:picMk id="8" creationId="{85302F0A-E4AF-4909-B628-B62708D9C850}"/>
          </ac:picMkLst>
        </pc:picChg>
        <pc:picChg chg="mod">
          <ac:chgData name="Katerine Schifino" userId="37bb67de-9fcf-4611-888c-7e5b58184a2a" providerId="ADAL" clId="{492CA766-37C7-49E7-917E-99FEE8BB3045}" dt="2022-03-09T14:35:20.051" v="897" actId="1036"/>
          <ac:picMkLst>
            <pc:docMk/>
            <pc:sldMk cId="1404460967" sldId="2146846076"/>
            <ac:picMk id="10" creationId="{BDD97E9B-D5F7-4013-9EF2-6936A1DDF3E2}"/>
          </ac:picMkLst>
        </pc:picChg>
        <pc:picChg chg="mod">
          <ac:chgData name="Katerine Schifino" userId="37bb67de-9fcf-4611-888c-7e5b58184a2a" providerId="ADAL" clId="{492CA766-37C7-49E7-917E-99FEE8BB3045}" dt="2022-03-09T14:35:20.051" v="897" actId="1036"/>
          <ac:picMkLst>
            <pc:docMk/>
            <pc:sldMk cId="1404460967" sldId="2146846076"/>
            <ac:picMk id="12" creationId="{4E195C52-9FA5-4D6C-97D7-B043740A4DE5}"/>
          </ac:picMkLst>
        </pc:picChg>
        <pc:picChg chg="mod">
          <ac:chgData name="Katerine Schifino" userId="37bb67de-9fcf-4611-888c-7e5b58184a2a" providerId="ADAL" clId="{492CA766-37C7-49E7-917E-99FEE8BB3045}" dt="2022-03-09T14:35:20.051" v="897" actId="1036"/>
          <ac:picMkLst>
            <pc:docMk/>
            <pc:sldMk cId="1404460967" sldId="2146846076"/>
            <ac:picMk id="14" creationId="{68D871C3-5FE8-40F1-B8CB-9CDF1B98D108}"/>
          </ac:picMkLst>
        </pc:picChg>
        <pc:picChg chg="mod">
          <ac:chgData name="Katerine Schifino" userId="37bb67de-9fcf-4611-888c-7e5b58184a2a" providerId="ADAL" clId="{492CA766-37C7-49E7-917E-99FEE8BB3045}" dt="2022-03-09T14:35:20.051" v="897" actId="1036"/>
          <ac:picMkLst>
            <pc:docMk/>
            <pc:sldMk cId="1404460967" sldId="2146846076"/>
            <ac:picMk id="16" creationId="{8DBCA058-0EA8-49CC-BCF3-0EA9C0DBDACE}"/>
          </ac:picMkLst>
        </pc:picChg>
        <pc:picChg chg="mod">
          <ac:chgData name="Katerine Schifino" userId="37bb67de-9fcf-4611-888c-7e5b58184a2a" providerId="ADAL" clId="{492CA766-37C7-49E7-917E-99FEE8BB3045}" dt="2022-03-09T14:35:20.051" v="897" actId="1036"/>
          <ac:picMkLst>
            <pc:docMk/>
            <pc:sldMk cId="1404460967" sldId="2146846076"/>
            <ac:picMk id="18" creationId="{C3689C78-4414-4D62-954B-BE6D1BB4644D}"/>
          </ac:picMkLst>
        </pc:picChg>
        <pc:picChg chg="mod">
          <ac:chgData name="Katerine Schifino" userId="37bb67de-9fcf-4611-888c-7e5b58184a2a" providerId="ADAL" clId="{492CA766-37C7-49E7-917E-99FEE8BB3045}" dt="2022-03-09T14:35:15.997" v="881" actId="1076"/>
          <ac:picMkLst>
            <pc:docMk/>
            <pc:sldMk cId="1404460967" sldId="2146846076"/>
            <ac:picMk id="20" creationId="{C556D62C-2AC4-4726-B5EE-3E1D567FA982}"/>
          </ac:picMkLst>
        </pc:picChg>
      </pc:sldChg>
      <pc:sldChg chg="addSp delSp modSp mod">
        <pc:chgData name="Katerine Schifino" userId="37bb67de-9fcf-4611-888c-7e5b58184a2a" providerId="ADAL" clId="{492CA766-37C7-49E7-917E-99FEE8BB3045}" dt="2022-03-14T13:34:36.858" v="3952" actId="20577"/>
        <pc:sldMkLst>
          <pc:docMk/>
          <pc:sldMk cId="1683932540" sldId="2146846077"/>
        </pc:sldMkLst>
        <pc:spChg chg="del">
          <ac:chgData name="Katerine Schifino" userId="37bb67de-9fcf-4611-888c-7e5b58184a2a" providerId="ADAL" clId="{492CA766-37C7-49E7-917E-99FEE8BB3045}" dt="2022-03-09T14:30:53.657" v="821" actId="478"/>
          <ac:spMkLst>
            <pc:docMk/>
            <pc:sldMk cId="1683932540" sldId="2146846077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14T13:34:36.858" v="3952" actId="20577"/>
          <ac:spMkLst>
            <pc:docMk/>
            <pc:sldMk cId="1683932540" sldId="2146846077"/>
            <ac:spMk id="5" creationId="{32B37483-28FB-4EC9-A968-6B7F946499B7}"/>
          </ac:spMkLst>
        </pc:spChg>
        <pc:spChg chg="del">
          <ac:chgData name="Katerine Schifino" userId="37bb67de-9fcf-4611-888c-7e5b58184a2a" providerId="ADAL" clId="{492CA766-37C7-49E7-917E-99FEE8BB3045}" dt="2022-03-11T17:23:39.419" v="3477" actId="478"/>
          <ac:spMkLst>
            <pc:docMk/>
            <pc:sldMk cId="1683932540" sldId="2146846077"/>
            <ac:spMk id="6" creationId="{BC432FFE-BFF2-481D-B777-8DA18A3B59B7}"/>
          </ac:spMkLst>
        </pc:spChg>
        <pc:spChg chg="del">
          <ac:chgData name="Katerine Schifino" userId="37bb67de-9fcf-4611-888c-7e5b58184a2a" providerId="ADAL" clId="{492CA766-37C7-49E7-917E-99FEE8BB3045}" dt="2022-03-11T17:23:40.847" v="3478" actId="478"/>
          <ac:spMkLst>
            <pc:docMk/>
            <pc:sldMk cId="1683932540" sldId="2146846077"/>
            <ac:spMk id="7" creationId="{01728192-2154-4A12-AC22-FE1F1FCD3B7B}"/>
          </ac:spMkLst>
        </pc:spChg>
        <pc:spChg chg="del">
          <ac:chgData name="Katerine Schifino" userId="37bb67de-9fcf-4611-888c-7e5b58184a2a" providerId="ADAL" clId="{492CA766-37C7-49E7-917E-99FEE8BB3045}" dt="2022-03-11T17:23:42.403" v="3479" actId="478"/>
          <ac:spMkLst>
            <pc:docMk/>
            <pc:sldMk cId="1683932540" sldId="2146846077"/>
            <ac:spMk id="8" creationId="{E9E050DD-49B2-485B-8526-53F8F73DA408}"/>
          </ac:spMkLst>
        </pc:spChg>
        <pc:spChg chg="add mod">
          <ac:chgData name="Katerine Schifino" userId="37bb67de-9fcf-4611-888c-7e5b58184a2a" providerId="ADAL" clId="{492CA766-37C7-49E7-917E-99FEE8BB3045}" dt="2022-03-09T14:30:54.257" v="822"/>
          <ac:spMkLst>
            <pc:docMk/>
            <pc:sldMk cId="1683932540" sldId="2146846077"/>
            <ac:spMk id="10" creationId="{4C9EE85E-0939-4C52-A70B-D95EF3824D7C}"/>
          </ac:spMkLst>
        </pc:spChg>
        <pc:spChg chg="add mod">
          <ac:chgData name="Katerine Schifino" userId="37bb67de-9fcf-4611-888c-7e5b58184a2a" providerId="ADAL" clId="{492CA766-37C7-49E7-917E-99FEE8BB3045}" dt="2022-03-11T17:28:35.752" v="3646" actId="164"/>
          <ac:spMkLst>
            <pc:docMk/>
            <pc:sldMk cId="1683932540" sldId="2146846077"/>
            <ac:spMk id="14" creationId="{4BD32EBC-4B00-4254-B678-1B1724130426}"/>
          </ac:spMkLst>
        </pc:spChg>
        <pc:spChg chg="add mod">
          <ac:chgData name="Katerine Schifino" userId="37bb67de-9fcf-4611-888c-7e5b58184a2a" providerId="ADAL" clId="{492CA766-37C7-49E7-917E-99FEE8BB3045}" dt="2022-03-11T17:28:35.752" v="3646" actId="164"/>
          <ac:spMkLst>
            <pc:docMk/>
            <pc:sldMk cId="1683932540" sldId="2146846077"/>
            <ac:spMk id="15" creationId="{390511F0-2BD4-4618-9135-C5432C87FECB}"/>
          </ac:spMkLst>
        </pc:spChg>
        <pc:spChg chg="add mod">
          <ac:chgData name="Katerine Schifino" userId="37bb67de-9fcf-4611-888c-7e5b58184a2a" providerId="ADAL" clId="{492CA766-37C7-49E7-917E-99FEE8BB3045}" dt="2022-03-11T17:28:35.752" v="3646" actId="164"/>
          <ac:spMkLst>
            <pc:docMk/>
            <pc:sldMk cId="1683932540" sldId="2146846077"/>
            <ac:spMk id="16" creationId="{844A9D1A-AAF5-4320-BEC9-0783ACF83039}"/>
          </ac:spMkLst>
        </pc:spChg>
        <pc:spChg chg="add mod">
          <ac:chgData name="Katerine Schifino" userId="37bb67de-9fcf-4611-888c-7e5b58184a2a" providerId="ADAL" clId="{492CA766-37C7-49E7-917E-99FEE8BB3045}" dt="2022-03-11T17:27:54.701" v="3642" actId="164"/>
          <ac:spMkLst>
            <pc:docMk/>
            <pc:sldMk cId="1683932540" sldId="2146846077"/>
            <ac:spMk id="17" creationId="{0926F541-DA73-4272-99AC-4F02AF70FA23}"/>
          </ac:spMkLst>
        </pc:spChg>
        <pc:spChg chg="add del mod">
          <ac:chgData name="Katerine Schifino" userId="37bb67de-9fcf-4611-888c-7e5b58184a2a" providerId="ADAL" clId="{492CA766-37C7-49E7-917E-99FEE8BB3045}" dt="2022-03-11T17:26:43.209" v="3540" actId="478"/>
          <ac:spMkLst>
            <pc:docMk/>
            <pc:sldMk cId="1683932540" sldId="2146846077"/>
            <ac:spMk id="18" creationId="{569F67DB-0970-46DE-9637-DA5952D5D7FE}"/>
          </ac:spMkLst>
        </pc:spChg>
        <pc:spChg chg="add mod">
          <ac:chgData name="Katerine Schifino" userId="37bb67de-9fcf-4611-888c-7e5b58184a2a" providerId="ADAL" clId="{492CA766-37C7-49E7-917E-99FEE8BB3045}" dt="2022-03-11T17:31:47.574" v="3701" actId="164"/>
          <ac:spMkLst>
            <pc:docMk/>
            <pc:sldMk cId="1683932540" sldId="2146846077"/>
            <ac:spMk id="25" creationId="{ADC0376C-2D70-47A0-8E24-5336AF5230C7}"/>
          </ac:spMkLst>
        </pc:spChg>
        <pc:spChg chg="add mod">
          <ac:chgData name="Katerine Schifino" userId="37bb67de-9fcf-4611-888c-7e5b58184a2a" providerId="ADAL" clId="{492CA766-37C7-49E7-917E-99FEE8BB3045}" dt="2022-03-11T17:31:47.574" v="3701" actId="164"/>
          <ac:spMkLst>
            <pc:docMk/>
            <pc:sldMk cId="1683932540" sldId="2146846077"/>
            <ac:spMk id="26" creationId="{F1F525B9-CC07-47B8-8D1F-55C022822BDD}"/>
          </ac:spMkLst>
        </pc:spChg>
        <pc:spChg chg="add mod">
          <ac:chgData name="Katerine Schifino" userId="37bb67de-9fcf-4611-888c-7e5b58184a2a" providerId="ADAL" clId="{492CA766-37C7-49E7-917E-99FEE8BB3045}" dt="2022-03-11T17:31:47.574" v="3701" actId="164"/>
          <ac:spMkLst>
            <pc:docMk/>
            <pc:sldMk cId="1683932540" sldId="2146846077"/>
            <ac:spMk id="27" creationId="{60AF15D8-4955-4036-9CA7-30CB6855C310}"/>
          </ac:spMkLst>
        </pc:spChg>
        <pc:grpChg chg="add del mod">
          <ac:chgData name="Katerine Schifino" userId="37bb67de-9fcf-4611-888c-7e5b58184a2a" providerId="ADAL" clId="{492CA766-37C7-49E7-917E-99FEE8BB3045}" dt="2022-03-11T17:30:20.566" v="3661" actId="478"/>
          <ac:grpSpMkLst>
            <pc:docMk/>
            <pc:sldMk cId="1683932540" sldId="2146846077"/>
            <ac:grpSpMk id="19" creationId="{B568E460-E36D-4DC5-87B5-2695A466D562}"/>
          </ac:grpSpMkLst>
        </pc:grpChg>
        <pc:grpChg chg="add mod">
          <ac:chgData name="Katerine Schifino" userId="37bb67de-9fcf-4611-888c-7e5b58184a2a" providerId="ADAL" clId="{492CA766-37C7-49E7-917E-99FEE8BB3045}" dt="2022-03-11T17:33:01.764" v="3762" actId="1076"/>
          <ac:grpSpMkLst>
            <pc:docMk/>
            <pc:sldMk cId="1683932540" sldId="2146846077"/>
            <ac:grpSpMk id="20" creationId="{6BD68E30-167A-4300-B2B3-6376AA19103B}"/>
          </ac:grpSpMkLst>
        </pc:grpChg>
        <pc:grpChg chg="add mod">
          <ac:chgData name="Katerine Schifino" userId="37bb67de-9fcf-4611-888c-7e5b58184a2a" providerId="ADAL" clId="{492CA766-37C7-49E7-917E-99FEE8BB3045}" dt="2022-03-11T17:32:52.683" v="3760" actId="1076"/>
          <ac:grpSpMkLst>
            <pc:docMk/>
            <pc:sldMk cId="1683932540" sldId="2146846077"/>
            <ac:grpSpMk id="28" creationId="{393A5184-280F-4BC5-94E2-C6EC8D79953F}"/>
          </ac:grpSpMkLst>
        </pc:grpChg>
        <pc:picChg chg="add mod modCrop">
          <ac:chgData name="Katerine Schifino" userId="37bb67de-9fcf-4611-888c-7e5b58184a2a" providerId="ADAL" clId="{492CA766-37C7-49E7-917E-99FEE8BB3045}" dt="2022-03-11T17:27:54.701" v="3642" actId="164"/>
          <ac:picMkLst>
            <pc:docMk/>
            <pc:sldMk cId="1683932540" sldId="2146846077"/>
            <ac:picMk id="3" creationId="{0404AF61-A72E-4B63-9580-4EBE9C28DB33}"/>
          </ac:picMkLst>
        </pc:picChg>
        <pc:picChg chg="add del mod">
          <ac:chgData name="Katerine Schifino" userId="37bb67de-9fcf-4611-888c-7e5b58184a2a" providerId="ADAL" clId="{492CA766-37C7-49E7-917E-99FEE8BB3045}" dt="2022-03-09T14:30:45.707" v="820" actId="478"/>
          <ac:picMkLst>
            <pc:docMk/>
            <pc:sldMk cId="1683932540" sldId="2146846077"/>
            <ac:picMk id="4" creationId="{D5B7B281-2D01-4B1C-B8C0-910E68354BDF}"/>
          </ac:picMkLst>
        </pc:picChg>
        <pc:picChg chg="del">
          <ac:chgData name="Katerine Schifino" userId="37bb67de-9fcf-4611-888c-7e5b58184a2a" providerId="ADAL" clId="{492CA766-37C7-49E7-917E-99FEE8BB3045}" dt="2022-03-11T17:23:36.985" v="3476" actId="478"/>
          <ac:picMkLst>
            <pc:docMk/>
            <pc:sldMk cId="1683932540" sldId="2146846077"/>
            <ac:picMk id="9" creationId="{31557504-39A4-4AF3-8021-311313937D70}"/>
          </ac:picMkLst>
        </pc:picChg>
        <pc:picChg chg="add del mod">
          <ac:chgData name="Katerine Schifino" userId="37bb67de-9fcf-4611-888c-7e5b58184a2a" providerId="ADAL" clId="{492CA766-37C7-49E7-917E-99FEE8BB3045}" dt="2022-03-11T17:26:19.510" v="3526" actId="478"/>
          <ac:picMkLst>
            <pc:docMk/>
            <pc:sldMk cId="1683932540" sldId="2146846077"/>
            <ac:picMk id="11" creationId="{AB468FDD-2693-4FCF-99DE-A5FB4E6394DB}"/>
          </ac:picMkLst>
        </pc:picChg>
        <pc:picChg chg="add mod modCrop">
          <ac:chgData name="Katerine Schifino" userId="37bb67de-9fcf-4611-888c-7e5b58184a2a" providerId="ADAL" clId="{492CA766-37C7-49E7-917E-99FEE8BB3045}" dt="2022-03-11T17:28:35.752" v="3646" actId="164"/>
          <ac:picMkLst>
            <pc:docMk/>
            <pc:sldMk cId="1683932540" sldId="2146846077"/>
            <ac:picMk id="13" creationId="{8084C98D-D7AA-484D-97A8-44BAE9BB9F5B}"/>
          </ac:picMkLst>
        </pc:picChg>
        <pc:picChg chg="add del mod modCrop">
          <ac:chgData name="Katerine Schifino" userId="37bb67de-9fcf-4611-888c-7e5b58184a2a" providerId="ADAL" clId="{492CA766-37C7-49E7-917E-99FEE8BB3045}" dt="2022-03-11T17:30:25.090" v="3663" actId="478"/>
          <ac:picMkLst>
            <pc:docMk/>
            <pc:sldMk cId="1683932540" sldId="2146846077"/>
            <ac:picMk id="22" creationId="{FAEFE1F6-4915-4388-BC91-03A521F5C1CA}"/>
          </ac:picMkLst>
        </pc:picChg>
        <pc:picChg chg="add mod modCrop">
          <ac:chgData name="Katerine Schifino" userId="37bb67de-9fcf-4611-888c-7e5b58184a2a" providerId="ADAL" clId="{492CA766-37C7-49E7-917E-99FEE8BB3045}" dt="2022-03-11T17:31:47.574" v="3701" actId="164"/>
          <ac:picMkLst>
            <pc:docMk/>
            <pc:sldMk cId="1683932540" sldId="2146846077"/>
            <ac:picMk id="24" creationId="{AE766E32-65E2-46D2-979D-26C1C15AE149}"/>
          </ac:picMkLst>
        </pc:picChg>
      </pc:sldChg>
      <pc:sldChg chg="del">
        <pc:chgData name="Katerine Schifino" userId="37bb67de-9fcf-4611-888c-7e5b58184a2a" providerId="ADAL" clId="{492CA766-37C7-49E7-917E-99FEE8BB3045}" dt="2022-03-09T15:51:26.817" v="1940" actId="47"/>
        <pc:sldMkLst>
          <pc:docMk/>
          <pc:sldMk cId="3926793904" sldId="2146846078"/>
        </pc:sldMkLst>
      </pc:sldChg>
      <pc:sldChg chg="modSp mod">
        <pc:chgData name="Katerine Schifino" userId="37bb67de-9fcf-4611-888c-7e5b58184a2a" providerId="ADAL" clId="{492CA766-37C7-49E7-917E-99FEE8BB3045}" dt="2022-03-09T16:48:01.981" v="2826" actId="1076"/>
        <pc:sldMkLst>
          <pc:docMk/>
          <pc:sldMk cId="2001048157" sldId="2146846079"/>
        </pc:sldMkLst>
        <pc:spChg chg="mod">
          <ac:chgData name="Katerine Schifino" userId="37bb67de-9fcf-4611-888c-7e5b58184a2a" providerId="ADAL" clId="{492CA766-37C7-49E7-917E-99FEE8BB3045}" dt="2022-03-09T13:57:23.225" v="555" actId="20577"/>
          <ac:spMkLst>
            <pc:docMk/>
            <pc:sldMk cId="2001048157" sldId="2146846079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09T13:58:48.525" v="568" actId="20577"/>
          <ac:spMkLst>
            <pc:docMk/>
            <pc:sldMk cId="2001048157" sldId="2146846079"/>
            <ac:spMk id="16" creationId="{75AE98B8-EFCD-45F3-ABF1-808DD8FA2D94}"/>
          </ac:spMkLst>
        </pc:spChg>
        <pc:spChg chg="mod">
          <ac:chgData name="Katerine Schifino" userId="37bb67de-9fcf-4611-888c-7e5b58184a2a" providerId="ADAL" clId="{492CA766-37C7-49E7-917E-99FEE8BB3045}" dt="2022-03-09T13:58:44.156" v="565" actId="20577"/>
          <ac:spMkLst>
            <pc:docMk/>
            <pc:sldMk cId="2001048157" sldId="2146846079"/>
            <ac:spMk id="19" creationId="{061D4670-FB5D-4DD7-B1F5-4688263174E9}"/>
          </ac:spMkLst>
        </pc:spChg>
        <pc:spChg chg="mod">
          <ac:chgData name="Katerine Schifino" userId="37bb67de-9fcf-4611-888c-7e5b58184a2a" providerId="ADAL" clId="{492CA766-37C7-49E7-917E-99FEE8BB3045}" dt="2022-03-09T13:57:46.655" v="557"/>
          <ac:spMkLst>
            <pc:docMk/>
            <pc:sldMk cId="2001048157" sldId="2146846079"/>
            <ac:spMk id="22" creationId="{CBEC229F-1C20-4AA7-A2AE-C210AF86D9A8}"/>
          </ac:spMkLst>
        </pc:spChg>
        <pc:spChg chg="mod">
          <ac:chgData name="Katerine Schifino" userId="37bb67de-9fcf-4611-888c-7e5b58184a2a" providerId="ADAL" clId="{492CA766-37C7-49E7-917E-99FEE8BB3045}" dt="2022-03-09T13:57:34.625" v="556"/>
          <ac:spMkLst>
            <pc:docMk/>
            <pc:sldMk cId="2001048157" sldId="2146846079"/>
            <ac:spMk id="54" creationId="{CA33CA92-6C9A-4BBF-A9CA-3EB3057DD5D4}"/>
          </ac:spMkLst>
        </pc:spChg>
        <pc:spChg chg="mod">
          <ac:chgData name="Katerine Schifino" userId="37bb67de-9fcf-4611-888c-7e5b58184a2a" providerId="ADAL" clId="{492CA766-37C7-49E7-917E-99FEE8BB3045}" dt="2022-03-09T14:00:24.695" v="624" actId="20577"/>
          <ac:spMkLst>
            <pc:docMk/>
            <pc:sldMk cId="2001048157" sldId="2146846079"/>
            <ac:spMk id="59" creationId="{F076B0F3-4333-4F73-9289-34FD64006B6C}"/>
          </ac:spMkLst>
        </pc:spChg>
        <pc:spChg chg="mod">
          <ac:chgData name="Katerine Schifino" userId="37bb67de-9fcf-4611-888c-7e5b58184a2a" providerId="ADAL" clId="{492CA766-37C7-49E7-917E-99FEE8BB3045}" dt="2022-03-09T14:00:07.236" v="620" actId="20577"/>
          <ac:spMkLst>
            <pc:docMk/>
            <pc:sldMk cId="2001048157" sldId="2146846079"/>
            <ac:spMk id="61" creationId="{A9D7DBDB-1285-4416-9622-48904AB14579}"/>
          </ac:spMkLst>
        </pc:spChg>
        <pc:spChg chg="mod">
          <ac:chgData name="Katerine Schifino" userId="37bb67de-9fcf-4611-888c-7e5b58184a2a" providerId="ADAL" clId="{492CA766-37C7-49E7-917E-99FEE8BB3045}" dt="2022-03-09T13:59:43.511" v="614" actId="20577"/>
          <ac:spMkLst>
            <pc:docMk/>
            <pc:sldMk cId="2001048157" sldId="2146846079"/>
            <ac:spMk id="63" creationId="{969DDDCA-411B-4DDB-A5C3-3BFCC0BEB0A1}"/>
          </ac:spMkLst>
        </pc:spChg>
        <pc:spChg chg="mod">
          <ac:chgData name="Katerine Schifino" userId="37bb67de-9fcf-4611-888c-7e5b58184a2a" providerId="ADAL" clId="{492CA766-37C7-49E7-917E-99FEE8BB3045}" dt="2022-03-09T16:48:01.981" v="2826" actId="1076"/>
          <ac:spMkLst>
            <pc:docMk/>
            <pc:sldMk cId="2001048157" sldId="2146846079"/>
            <ac:spMk id="65" creationId="{FBE8F78A-154B-442A-B934-A3EA48410C87}"/>
          </ac:spMkLst>
        </pc:spChg>
      </pc:sldChg>
      <pc:sldChg chg="addSp delSp modSp del mod">
        <pc:chgData name="Katerine Schifino" userId="37bb67de-9fcf-4611-888c-7e5b58184a2a" providerId="ADAL" clId="{492CA766-37C7-49E7-917E-99FEE8BB3045}" dt="2022-03-09T17:43:04.336" v="2895" actId="47"/>
        <pc:sldMkLst>
          <pc:docMk/>
          <pc:sldMk cId="2969475038" sldId="2146846081"/>
        </pc:sldMkLst>
        <pc:spChg chg="del">
          <ac:chgData name="Katerine Schifino" userId="37bb67de-9fcf-4611-888c-7e5b58184a2a" providerId="ADAL" clId="{492CA766-37C7-49E7-917E-99FEE8BB3045}" dt="2022-03-09T13:48:11.880" v="430" actId="478"/>
          <ac:spMkLst>
            <pc:docMk/>
            <pc:sldMk cId="2969475038" sldId="2146846081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09T15:17:27.522" v="1632" actId="14100"/>
          <ac:spMkLst>
            <pc:docMk/>
            <pc:sldMk cId="2969475038" sldId="2146846081"/>
            <ac:spMk id="6" creationId="{3AB26AD5-1E43-44D0-A679-44D49EF8AA49}"/>
          </ac:spMkLst>
        </pc:spChg>
        <pc:spChg chg="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8" creationId="{1D7C792A-CC12-479D-8BB8-7678A646EA6C}"/>
          </ac:spMkLst>
        </pc:spChg>
        <pc:spChg chg="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11" creationId="{3851A96E-5BEA-49F6-AE48-7397556F5891}"/>
          </ac:spMkLst>
        </pc:spChg>
        <pc:spChg chg="del mod">
          <ac:chgData name="Katerine Schifino" userId="37bb67de-9fcf-4611-888c-7e5b58184a2a" providerId="ADAL" clId="{492CA766-37C7-49E7-917E-99FEE8BB3045}" dt="2022-03-09T14:56:54.326" v="1146" actId="478"/>
          <ac:spMkLst>
            <pc:docMk/>
            <pc:sldMk cId="2969475038" sldId="2146846081"/>
            <ac:spMk id="13" creationId="{2C6C05C7-5EE8-42E2-9973-FC5C6DD24E02}"/>
          </ac:spMkLst>
        </pc:spChg>
        <pc:spChg chg="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15" creationId="{691A9BEF-640C-469B-8749-56C2FEB65340}"/>
          </ac:spMkLst>
        </pc:spChg>
        <pc:spChg chg="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16" creationId="{5C1E48BA-319A-46FE-AD4D-EE9089AE53C8}"/>
          </ac:spMkLst>
        </pc:spChg>
        <pc:spChg chg="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17" creationId="{FF77C336-C7D1-4485-8108-03064933CD75}"/>
          </ac:spMkLst>
        </pc:spChg>
        <pc:spChg chg="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18" creationId="{624147BD-B1E0-4DB3-93A0-BC1D277441F2}"/>
          </ac:spMkLst>
        </pc:spChg>
        <pc:spChg chg="del mod">
          <ac:chgData name="Katerine Schifino" userId="37bb67de-9fcf-4611-888c-7e5b58184a2a" providerId="ADAL" clId="{492CA766-37C7-49E7-917E-99FEE8BB3045}" dt="2022-03-09T14:56:34.416" v="1142" actId="478"/>
          <ac:spMkLst>
            <pc:docMk/>
            <pc:sldMk cId="2969475038" sldId="2146846081"/>
            <ac:spMk id="19" creationId="{3883DB4B-29D0-45E8-B590-95D75609FCB9}"/>
          </ac:spMkLst>
        </pc:spChg>
        <pc:spChg chg="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20" creationId="{2D2C9E22-4796-41C6-81A9-E3D0FD229542}"/>
          </ac:spMkLst>
        </pc:spChg>
        <pc:spChg chg="add mod">
          <ac:chgData name="Katerine Schifino" userId="37bb67de-9fcf-4611-888c-7e5b58184a2a" providerId="ADAL" clId="{492CA766-37C7-49E7-917E-99FEE8BB3045}" dt="2022-03-09T13:49:16.540" v="474" actId="20577"/>
          <ac:spMkLst>
            <pc:docMk/>
            <pc:sldMk cId="2969475038" sldId="2146846081"/>
            <ac:spMk id="23" creationId="{F2ADE4F1-704B-4AE3-A73C-5AA1E98DF2BF}"/>
          </ac:spMkLst>
        </pc:spChg>
        <pc:spChg chg="add mod">
          <ac:chgData name="Katerine Schifino" userId="37bb67de-9fcf-4611-888c-7e5b58184a2a" providerId="ADAL" clId="{492CA766-37C7-49E7-917E-99FEE8BB3045}" dt="2022-03-09T14:57:10.849" v="1150" actId="14100"/>
          <ac:spMkLst>
            <pc:docMk/>
            <pc:sldMk cId="2969475038" sldId="2146846081"/>
            <ac:spMk id="25" creationId="{D10F3AF7-FB07-4A11-AB25-ED6D04867093}"/>
          </ac:spMkLst>
        </pc:spChg>
        <pc:spChg chg="add mod">
          <ac:chgData name="Katerine Schifino" userId="37bb67de-9fcf-4611-888c-7e5b58184a2a" providerId="ADAL" clId="{492CA766-37C7-49E7-917E-99FEE8BB3045}" dt="2022-03-09T15:16:59.092" v="1629" actId="1076"/>
          <ac:spMkLst>
            <pc:docMk/>
            <pc:sldMk cId="2969475038" sldId="2146846081"/>
            <ac:spMk id="40" creationId="{BB488A38-8730-4291-8B98-A3DD4C97632E}"/>
          </ac:spMkLst>
        </pc:spChg>
        <pc:spChg chg="mod">
          <ac:chgData name="Katerine Schifino" userId="37bb67de-9fcf-4611-888c-7e5b58184a2a" providerId="ADAL" clId="{492CA766-37C7-49E7-917E-99FEE8BB3045}" dt="2022-03-09T15:24:05.922" v="1633" actId="14100"/>
          <ac:spMkLst>
            <pc:docMk/>
            <pc:sldMk cId="2969475038" sldId="2146846081"/>
            <ac:spMk id="42" creationId="{19380C9B-01AE-4F68-9C5E-929D539D9599}"/>
          </ac:spMkLst>
        </pc:spChg>
        <pc:spChg chg="add del mod">
          <ac:chgData name="Katerine Schifino" userId="37bb67de-9fcf-4611-888c-7e5b58184a2a" providerId="ADAL" clId="{492CA766-37C7-49E7-917E-99FEE8BB3045}" dt="2022-03-09T15:15:39.243" v="1602" actId="478"/>
          <ac:spMkLst>
            <pc:docMk/>
            <pc:sldMk cId="2969475038" sldId="2146846081"/>
            <ac:spMk id="46" creationId="{F6C98B98-64C6-42AE-B58C-F744869D8A6F}"/>
          </ac:spMkLst>
        </pc:spChg>
        <pc:spChg chg="add del">
          <ac:chgData name="Katerine Schifino" userId="37bb67de-9fcf-4611-888c-7e5b58184a2a" providerId="ADAL" clId="{492CA766-37C7-49E7-917E-99FEE8BB3045}" dt="2022-03-09T15:15:53.421" v="1604" actId="22"/>
          <ac:spMkLst>
            <pc:docMk/>
            <pc:sldMk cId="2969475038" sldId="2146846081"/>
            <ac:spMk id="47" creationId="{848007EC-F96C-43F4-8A7A-930A581737C2}"/>
          </ac:spMkLst>
        </pc:spChg>
        <pc:spChg chg="add mod">
          <ac:chgData name="Katerine Schifino" userId="37bb67de-9fcf-4611-888c-7e5b58184a2a" providerId="ADAL" clId="{492CA766-37C7-49E7-917E-99FEE8BB3045}" dt="2022-03-09T15:17:01.871" v="1630" actId="14100"/>
          <ac:spMkLst>
            <pc:docMk/>
            <pc:sldMk cId="2969475038" sldId="2146846081"/>
            <ac:spMk id="48" creationId="{8D585562-C461-46DC-8951-D37959777502}"/>
          </ac:spMkLst>
        </pc:spChg>
        <pc:spChg chg="mod">
          <ac:chgData name="Katerine Schifino" userId="37bb67de-9fcf-4611-888c-7e5b58184a2a" providerId="ADAL" clId="{492CA766-37C7-49E7-917E-99FEE8BB3045}" dt="2022-03-09T17:37:39.886" v="2832"/>
          <ac:spMkLst>
            <pc:docMk/>
            <pc:sldMk cId="2969475038" sldId="2146846081"/>
            <ac:spMk id="50" creationId="{B8281D74-70C2-440F-8DA8-BC831A43DB9B}"/>
          </ac:spMkLst>
        </pc:spChg>
        <pc:spChg chg="mod">
          <ac:chgData name="Katerine Schifino" userId="37bb67de-9fcf-4611-888c-7e5b58184a2a" providerId="ADAL" clId="{492CA766-37C7-49E7-917E-99FEE8BB3045}" dt="2022-03-09T17:37:39.886" v="2832"/>
          <ac:spMkLst>
            <pc:docMk/>
            <pc:sldMk cId="2969475038" sldId="2146846081"/>
            <ac:spMk id="51" creationId="{7B6CB61C-89AF-47FC-97F7-C868A88EBCCE}"/>
          </ac:spMkLst>
        </pc:spChg>
        <pc:spChg chg="mod">
          <ac:chgData name="Katerine Schifino" userId="37bb67de-9fcf-4611-888c-7e5b58184a2a" providerId="ADAL" clId="{492CA766-37C7-49E7-917E-99FEE8BB3045}" dt="2022-03-09T17:37:39.886" v="2832"/>
          <ac:spMkLst>
            <pc:docMk/>
            <pc:sldMk cId="2969475038" sldId="2146846081"/>
            <ac:spMk id="52" creationId="{E4DCC4C1-460C-44DF-A5A9-03450A62099B}"/>
          </ac:spMkLst>
        </pc:spChg>
        <pc:spChg chg="mod">
          <ac:chgData name="Katerine Schifino" userId="37bb67de-9fcf-4611-888c-7e5b58184a2a" providerId="ADAL" clId="{492CA766-37C7-49E7-917E-99FEE8BB3045}" dt="2022-03-09T17:37:39.886" v="2832"/>
          <ac:spMkLst>
            <pc:docMk/>
            <pc:sldMk cId="2969475038" sldId="2146846081"/>
            <ac:spMk id="53" creationId="{F341D6D9-C484-4FB1-8544-CE238FD54DF3}"/>
          </ac:spMkLst>
        </pc:spChg>
        <pc:spChg chg="mod">
          <ac:chgData name="Katerine Schifino" userId="37bb67de-9fcf-4611-888c-7e5b58184a2a" providerId="ADAL" clId="{492CA766-37C7-49E7-917E-99FEE8BB3045}" dt="2022-03-09T17:37:39.886" v="2832"/>
          <ac:spMkLst>
            <pc:docMk/>
            <pc:sldMk cId="2969475038" sldId="2146846081"/>
            <ac:spMk id="54" creationId="{6B93FF64-B001-4037-9ABE-042BF575205A}"/>
          </ac:spMkLst>
        </pc:spChg>
        <pc:spChg chg="mod">
          <ac:chgData name="Katerine Schifino" userId="37bb67de-9fcf-4611-888c-7e5b58184a2a" providerId="ADAL" clId="{492CA766-37C7-49E7-917E-99FEE8BB3045}" dt="2022-03-09T17:37:39.886" v="2832"/>
          <ac:spMkLst>
            <pc:docMk/>
            <pc:sldMk cId="2969475038" sldId="2146846081"/>
            <ac:spMk id="55" creationId="{ACE49B91-D99B-4DE3-9FA4-BA329D18FE31}"/>
          </ac:spMkLst>
        </pc:spChg>
        <pc:grpChg chg="add mod">
          <ac:chgData name="Katerine Schifino" userId="37bb67de-9fcf-4611-888c-7e5b58184a2a" providerId="ADAL" clId="{492CA766-37C7-49E7-917E-99FEE8BB3045}" dt="2022-03-09T15:16:59.092" v="1629" actId="1076"/>
          <ac:grpSpMkLst>
            <pc:docMk/>
            <pc:sldMk cId="2969475038" sldId="2146846081"/>
            <ac:grpSpMk id="33" creationId="{69F6D422-536D-4A70-AD74-209484933C9B}"/>
          </ac:grpSpMkLst>
        </pc:grpChg>
        <pc:grpChg chg="add mod">
          <ac:chgData name="Katerine Schifino" userId="37bb67de-9fcf-4611-888c-7e5b58184a2a" providerId="ADAL" clId="{492CA766-37C7-49E7-917E-99FEE8BB3045}" dt="2022-03-09T15:16:59.092" v="1629" actId="1076"/>
          <ac:grpSpMkLst>
            <pc:docMk/>
            <pc:sldMk cId="2969475038" sldId="2146846081"/>
            <ac:grpSpMk id="35" creationId="{2450AB95-9CC3-42DF-8DB8-B20E2C47791B}"/>
          </ac:grpSpMkLst>
        </pc:grpChg>
        <pc:grpChg chg="mod">
          <ac:chgData name="Katerine Schifino" userId="37bb67de-9fcf-4611-888c-7e5b58184a2a" providerId="ADAL" clId="{492CA766-37C7-49E7-917E-99FEE8BB3045}" dt="2022-03-09T15:16:59.092" v="1629" actId="1076"/>
          <ac:grpSpMkLst>
            <pc:docMk/>
            <pc:sldMk cId="2969475038" sldId="2146846081"/>
            <ac:grpSpMk id="41" creationId="{2A5EA2E2-75B7-471C-A88D-716B79676EA2}"/>
          </ac:grpSpMkLst>
        </pc:grpChg>
        <pc:grpChg chg="mod">
          <ac:chgData name="Katerine Schifino" userId="37bb67de-9fcf-4611-888c-7e5b58184a2a" providerId="ADAL" clId="{492CA766-37C7-49E7-917E-99FEE8BB3045}" dt="2022-03-09T15:16:59.092" v="1629" actId="1076"/>
          <ac:grpSpMkLst>
            <pc:docMk/>
            <pc:sldMk cId="2969475038" sldId="2146846081"/>
            <ac:grpSpMk id="45" creationId="{DD6B3569-7EE4-441B-B5B3-5E06AE9395FE}"/>
          </ac:grpSpMkLst>
        </pc:grpChg>
        <pc:grpChg chg="add del mod">
          <ac:chgData name="Katerine Schifino" userId="37bb67de-9fcf-4611-888c-7e5b58184a2a" providerId="ADAL" clId="{492CA766-37C7-49E7-917E-99FEE8BB3045}" dt="2022-03-09T17:37:44.086" v="2834" actId="478"/>
          <ac:grpSpMkLst>
            <pc:docMk/>
            <pc:sldMk cId="2969475038" sldId="2146846081"/>
            <ac:grpSpMk id="49" creationId="{D5DEE41B-B348-4288-BB23-0EFD2CE517AA}"/>
          </ac:grpSpMkLst>
        </pc:grpChg>
        <pc:picChg chg="add mod">
          <ac:chgData name="Katerine Schifino" userId="37bb67de-9fcf-4611-888c-7e5b58184a2a" providerId="ADAL" clId="{492CA766-37C7-49E7-917E-99FEE8BB3045}" dt="2022-03-09T15:16:59.092" v="1629" actId="1076"/>
          <ac:picMkLst>
            <pc:docMk/>
            <pc:sldMk cId="2969475038" sldId="2146846081"/>
            <ac:picMk id="27" creationId="{82004687-F9E8-46A0-93AB-1F6B282455DE}"/>
          </ac:picMkLst>
        </pc:picChg>
        <pc:picChg chg="add del mod">
          <ac:chgData name="Katerine Schifino" userId="37bb67de-9fcf-4611-888c-7e5b58184a2a" providerId="ADAL" clId="{492CA766-37C7-49E7-917E-99FEE8BB3045}" dt="2022-03-09T14:57:16.586" v="1152" actId="478"/>
          <ac:picMkLst>
            <pc:docMk/>
            <pc:sldMk cId="2969475038" sldId="2146846081"/>
            <ac:picMk id="28" creationId="{C6F05329-54F3-41F7-AD6A-04116E61EEA5}"/>
          </ac:picMkLst>
        </pc:picChg>
        <pc:picChg chg="add mod">
          <ac:chgData name="Katerine Schifino" userId="37bb67de-9fcf-4611-888c-7e5b58184a2a" providerId="ADAL" clId="{492CA766-37C7-49E7-917E-99FEE8BB3045}" dt="2022-03-09T15:16:59.092" v="1629" actId="1076"/>
          <ac:picMkLst>
            <pc:docMk/>
            <pc:sldMk cId="2969475038" sldId="2146846081"/>
            <ac:picMk id="2050" creationId="{4B4B20DA-CFC1-4B05-9CE7-8473FAEC8D91}"/>
          </ac:picMkLst>
        </pc:picChg>
        <pc:cxnChg chg="mod">
          <ac:chgData name="Katerine Schifino" userId="37bb67de-9fcf-4611-888c-7e5b58184a2a" providerId="ADAL" clId="{492CA766-37C7-49E7-917E-99FEE8BB3045}" dt="2022-03-09T15:16:59.092" v="1629" actId="1076"/>
          <ac:cxnSpMkLst>
            <pc:docMk/>
            <pc:sldMk cId="2969475038" sldId="2146846081"/>
            <ac:cxnSpMk id="22" creationId="{A4B1105F-EB80-47DC-9E10-7E951DF1CA8F}"/>
          </ac:cxnSpMkLst>
        </pc:cxnChg>
        <pc:cxnChg chg="mod">
          <ac:chgData name="Katerine Schifino" userId="37bb67de-9fcf-4611-888c-7e5b58184a2a" providerId="ADAL" clId="{492CA766-37C7-49E7-917E-99FEE8BB3045}" dt="2022-03-09T15:16:59.092" v="1629" actId="1076"/>
          <ac:cxnSpMkLst>
            <pc:docMk/>
            <pc:sldMk cId="2969475038" sldId="2146846081"/>
            <ac:cxnSpMk id="24" creationId="{D4D6551A-11D7-48DA-8579-96516871FAA8}"/>
          </ac:cxnSpMkLst>
        </pc:cxnChg>
        <pc:cxnChg chg="mod">
          <ac:chgData name="Katerine Schifino" userId="37bb67de-9fcf-4611-888c-7e5b58184a2a" providerId="ADAL" clId="{492CA766-37C7-49E7-917E-99FEE8BB3045}" dt="2022-03-09T15:16:59.092" v="1629" actId="1076"/>
          <ac:cxnSpMkLst>
            <pc:docMk/>
            <pc:sldMk cId="2969475038" sldId="2146846081"/>
            <ac:cxnSpMk id="26" creationId="{25485FDE-63EE-4C61-B512-648078940060}"/>
          </ac:cxnSpMkLst>
        </pc:cxnChg>
        <pc:cxnChg chg="mod">
          <ac:chgData name="Katerine Schifino" userId="37bb67de-9fcf-4611-888c-7e5b58184a2a" providerId="ADAL" clId="{492CA766-37C7-49E7-917E-99FEE8BB3045}" dt="2022-03-09T15:16:59.092" v="1629" actId="1076"/>
          <ac:cxnSpMkLst>
            <pc:docMk/>
            <pc:sldMk cId="2969475038" sldId="2146846081"/>
            <ac:cxnSpMk id="29" creationId="{FE99AAB1-A30D-42D5-95C3-37DF300A0733}"/>
          </ac:cxnSpMkLst>
        </pc:cxnChg>
        <pc:cxnChg chg="mod">
          <ac:chgData name="Katerine Schifino" userId="37bb67de-9fcf-4611-888c-7e5b58184a2a" providerId="ADAL" clId="{492CA766-37C7-49E7-917E-99FEE8BB3045}" dt="2022-03-09T15:16:59.092" v="1629" actId="1076"/>
          <ac:cxnSpMkLst>
            <pc:docMk/>
            <pc:sldMk cId="2969475038" sldId="2146846081"/>
            <ac:cxnSpMk id="34" creationId="{324139A5-BAEC-4729-8353-4D68B5552021}"/>
          </ac:cxnSpMkLst>
        </pc:cxnChg>
        <pc:cxnChg chg="mod">
          <ac:chgData name="Katerine Schifino" userId="37bb67de-9fcf-4611-888c-7e5b58184a2a" providerId="ADAL" clId="{492CA766-37C7-49E7-917E-99FEE8BB3045}" dt="2022-03-09T15:16:59.092" v="1629" actId="1076"/>
          <ac:cxnSpMkLst>
            <pc:docMk/>
            <pc:sldMk cId="2969475038" sldId="2146846081"/>
            <ac:cxnSpMk id="36" creationId="{3113F515-4AF6-49AF-9B19-0FD47AFD3ABC}"/>
          </ac:cxnSpMkLst>
        </pc:cxnChg>
        <pc:cxnChg chg="del">
          <ac:chgData name="Katerine Schifino" userId="37bb67de-9fcf-4611-888c-7e5b58184a2a" providerId="ADAL" clId="{492CA766-37C7-49E7-917E-99FEE8BB3045}" dt="2022-03-09T14:56:51.996" v="1145" actId="478"/>
          <ac:cxnSpMkLst>
            <pc:docMk/>
            <pc:sldMk cId="2969475038" sldId="2146846081"/>
            <ac:cxnSpMk id="44" creationId="{125A0611-0E42-4733-A100-1A069CAD8BBC}"/>
          </ac:cxnSpMkLst>
        </pc:cxnChg>
      </pc:sldChg>
      <pc:sldChg chg="add del">
        <pc:chgData name="Katerine Schifino" userId="37bb67de-9fcf-4611-888c-7e5b58184a2a" providerId="ADAL" clId="{492CA766-37C7-49E7-917E-99FEE8BB3045}" dt="2022-03-09T14:40:56.737" v="932" actId="47"/>
        <pc:sldMkLst>
          <pc:docMk/>
          <pc:sldMk cId="2761840669" sldId="2146846082"/>
        </pc:sldMkLst>
      </pc:sldChg>
      <pc:sldChg chg="addSp delSp modSp mod">
        <pc:chgData name="Katerine Schifino" userId="37bb67de-9fcf-4611-888c-7e5b58184a2a" providerId="ADAL" clId="{492CA766-37C7-49E7-917E-99FEE8BB3045}" dt="2022-03-09T13:47:34.575" v="427" actId="1076"/>
        <pc:sldMkLst>
          <pc:docMk/>
          <pc:sldMk cId="4029788326" sldId="2146846083"/>
        </pc:sldMkLst>
        <pc:spChg chg="del">
          <ac:chgData name="Katerine Schifino" userId="37bb67de-9fcf-4611-888c-7e5b58184a2a" providerId="ADAL" clId="{492CA766-37C7-49E7-917E-99FEE8BB3045}" dt="2022-03-09T13:24:01.339" v="117" actId="478"/>
          <ac:spMkLst>
            <pc:docMk/>
            <pc:sldMk cId="4029788326" sldId="2146846083"/>
            <ac:spMk id="3" creationId="{D27D7BD4-79A4-4F74-AEDD-B6DF3D38FA7F}"/>
          </ac:spMkLst>
        </pc:spChg>
        <pc:spChg chg="add mod">
          <ac:chgData name="Katerine Schifino" userId="37bb67de-9fcf-4611-888c-7e5b58184a2a" providerId="ADAL" clId="{492CA766-37C7-49E7-917E-99FEE8BB3045}" dt="2022-03-09T13:24:13.446" v="118"/>
          <ac:spMkLst>
            <pc:docMk/>
            <pc:sldMk cId="4029788326" sldId="2146846083"/>
            <ac:spMk id="6" creationId="{804959DD-253D-4D50-B3BE-E1A8C5D45973}"/>
          </ac:spMkLst>
        </pc:spChg>
        <pc:spChg chg="mod">
          <ac:chgData name="Katerine Schifino" userId="37bb67de-9fcf-4611-888c-7e5b58184a2a" providerId="ADAL" clId="{492CA766-37C7-49E7-917E-99FEE8BB3045}" dt="2022-03-09T13:29:46.666" v="217" actId="1076"/>
          <ac:spMkLst>
            <pc:docMk/>
            <pc:sldMk cId="4029788326" sldId="2146846083"/>
            <ac:spMk id="8" creationId="{D1947B6B-EFAD-42C4-85AB-0C7271687C2F}"/>
          </ac:spMkLst>
        </pc:spChg>
        <pc:spChg chg="mod">
          <ac:chgData name="Katerine Schifino" userId="37bb67de-9fcf-4611-888c-7e5b58184a2a" providerId="ADAL" clId="{492CA766-37C7-49E7-917E-99FEE8BB3045}" dt="2022-03-09T13:45:24.520" v="400" actId="1076"/>
          <ac:spMkLst>
            <pc:docMk/>
            <pc:sldMk cId="4029788326" sldId="2146846083"/>
            <ac:spMk id="9" creationId="{1A1CC5CF-E4A9-4228-8D28-E17457198A43}"/>
          </ac:spMkLst>
        </pc:spChg>
        <pc:spChg chg="mod">
          <ac:chgData name="Katerine Schifino" userId="37bb67de-9fcf-4611-888c-7e5b58184a2a" providerId="ADAL" clId="{492CA766-37C7-49E7-917E-99FEE8BB3045}" dt="2022-03-09T13:46:46.635" v="418" actId="554"/>
          <ac:spMkLst>
            <pc:docMk/>
            <pc:sldMk cId="4029788326" sldId="2146846083"/>
            <ac:spMk id="10" creationId="{A5B12F80-DF72-4288-96C7-59EB50B81B32}"/>
          </ac:spMkLst>
        </pc:spChg>
        <pc:spChg chg="add mod">
          <ac:chgData name="Katerine Schifino" userId="37bb67de-9fcf-4611-888c-7e5b58184a2a" providerId="ADAL" clId="{492CA766-37C7-49E7-917E-99FEE8BB3045}" dt="2022-03-09T13:46:46.635" v="418" actId="554"/>
          <ac:spMkLst>
            <pc:docMk/>
            <pc:sldMk cId="4029788326" sldId="2146846083"/>
            <ac:spMk id="11" creationId="{B2F87405-D3F2-480A-B980-7538BCFBDFA8}"/>
          </ac:spMkLst>
        </pc:spChg>
        <pc:spChg chg="add mod">
          <ac:chgData name="Katerine Schifino" userId="37bb67de-9fcf-4611-888c-7e5b58184a2a" providerId="ADAL" clId="{492CA766-37C7-49E7-917E-99FEE8BB3045}" dt="2022-03-09T13:46:46.635" v="418" actId="554"/>
          <ac:spMkLst>
            <pc:docMk/>
            <pc:sldMk cId="4029788326" sldId="2146846083"/>
            <ac:spMk id="12" creationId="{F8F35AD2-6BB3-417D-9DD1-7D9864637180}"/>
          </ac:spMkLst>
        </pc:spChg>
        <pc:spChg chg="add mod">
          <ac:chgData name="Katerine Schifino" userId="37bb67de-9fcf-4611-888c-7e5b58184a2a" providerId="ADAL" clId="{492CA766-37C7-49E7-917E-99FEE8BB3045}" dt="2022-03-09T13:46:46.635" v="418" actId="554"/>
          <ac:spMkLst>
            <pc:docMk/>
            <pc:sldMk cId="4029788326" sldId="2146846083"/>
            <ac:spMk id="13" creationId="{6E655797-480B-41D5-9675-B9BCB43AC29F}"/>
          </ac:spMkLst>
        </pc:spChg>
        <pc:grpChg chg="add mod">
          <ac:chgData name="Katerine Schifino" userId="37bb67de-9fcf-4611-888c-7e5b58184a2a" providerId="ADAL" clId="{492CA766-37C7-49E7-917E-99FEE8BB3045}" dt="2022-03-09T13:38:57.855" v="352" actId="164"/>
          <ac:grpSpMkLst>
            <pc:docMk/>
            <pc:sldMk cId="4029788326" sldId="2146846083"/>
            <ac:grpSpMk id="29" creationId="{CABD4F54-1BE4-4F22-B15E-DC14960750A4}"/>
          </ac:grpSpMkLst>
        </pc:grpChg>
        <pc:grpChg chg="add mod">
          <ac:chgData name="Katerine Schifino" userId="37bb67de-9fcf-4611-888c-7e5b58184a2a" providerId="ADAL" clId="{492CA766-37C7-49E7-917E-99FEE8BB3045}" dt="2022-03-09T13:46:25.656" v="415" actId="1076"/>
          <ac:grpSpMkLst>
            <pc:docMk/>
            <pc:sldMk cId="4029788326" sldId="2146846083"/>
            <ac:grpSpMk id="30" creationId="{F4DCDA5D-65CB-4CE4-8378-216C3FFA1175}"/>
          </ac:grpSpMkLst>
        </pc:grpChg>
        <pc:picChg chg="add del mod">
          <ac:chgData name="Katerine Schifino" userId="37bb67de-9fcf-4611-888c-7e5b58184a2a" providerId="ADAL" clId="{492CA766-37C7-49E7-917E-99FEE8BB3045}" dt="2022-03-09T13:36:51.971" v="312" actId="478"/>
          <ac:picMkLst>
            <pc:docMk/>
            <pc:sldMk cId="4029788326" sldId="2146846083"/>
            <ac:picMk id="14" creationId="{9EBAC618-6B02-4E79-A6D2-F3F9E45F4118}"/>
          </ac:picMkLst>
        </pc:picChg>
        <pc:picChg chg="add mod">
          <ac:chgData name="Katerine Schifino" userId="37bb67de-9fcf-4611-888c-7e5b58184a2a" providerId="ADAL" clId="{492CA766-37C7-49E7-917E-99FEE8BB3045}" dt="2022-03-09T13:38:46.685" v="349" actId="164"/>
          <ac:picMkLst>
            <pc:docMk/>
            <pc:sldMk cId="4029788326" sldId="2146846083"/>
            <ac:picMk id="16" creationId="{2894178B-8FAE-4807-9746-B7627E55CB4B}"/>
          </ac:picMkLst>
        </pc:picChg>
        <pc:picChg chg="add mod">
          <ac:chgData name="Katerine Schifino" userId="37bb67de-9fcf-4611-888c-7e5b58184a2a" providerId="ADAL" clId="{492CA766-37C7-49E7-917E-99FEE8BB3045}" dt="2022-03-09T13:38:46.685" v="349" actId="164"/>
          <ac:picMkLst>
            <pc:docMk/>
            <pc:sldMk cId="4029788326" sldId="2146846083"/>
            <ac:picMk id="18" creationId="{89835A30-6147-4D5F-8A3C-E35A5C8BB3AF}"/>
          </ac:picMkLst>
        </pc:picChg>
        <pc:picChg chg="add mod">
          <ac:chgData name="Katerine Schifino" userId="37bb67de-9fcf-4611-888c-7e5b58184a2a" providerId="ADAL" clId="{492CA766-37C7-49E7-917E-99FEE8BB3045}" dt="2022-03-09T13:38:46.685" v="349" actId="164"/>
          <ac:picMkLst>
            <pc:docMk/>
            <pc:sldMk cId="4029788326" sldId="2146846083"/>
            <ac:picMk id="20" creationId="{66AB7B97-D242-463F-8CD9-F3DA7CEC8929}"/>
          </ac:picMkLst>
        </pc:picChg>
        <pc:picChg chg="add mod">
          <ac:chgData name="Katerine Schifino" userId="37bb67de-9fcf-4611-888c-7e5b58184a2a" providerId="ADAL" clId="{492CA766-37C7-49E7-917E-99FEE8BB3045}" dt="2022-03-09T13:38:46.685" v="349" actId="164"/>
          <ac:picMkLst>
            <pc:docMk/>
            <pc:sldMk cId="4029788326" sldId="2146846083"/>
            <ac:picMk id="22" creationId="{97E8DB73-A062-4304-984F-63F9C375CC2D}"/>
          </ac:picMkLst>
        </pc:picChg>
        <pc:picChg chg="add mod">
          <ac:chgData name="Katerine Schifino" userId="37bb67de-9fcf-4611-888c-7e5b58184a2a" providerId="ADAL" clId="{492CA766-37C7-49E7-917E-99FEE8BB3045}" dt="2022-03-09T13:38:46.685" v="349" actId="164"/>
          <ac:picMkLst>
            <pc:docMk/>
            <pc:sldMk cId="4029788326" sldId="2146846083"/>
            <ac:picMk id="24" creationId="{2DC9C945-C195-478E-914A-31A4B27AD8D0}"/>
          </ac:picMkLst>
        </pc:picChg>
        <pc:picChg chg="add mod">
          <ac:chgData name="Katerine Schifino" userId="37bb67de-9fcf-4611-888c-7e5b58184a2a" providerId="ADAL" clId="{492CA766-37C7-49E7-917E-99FEE8BB3045}" dt="2022-03-09T13:38:46.685" v="349" actId="164"/>
          <ac:picMkLst>
            <pc:docMk/>
            <pc:sldMk cId="4029788326" sldId="2146846083"/>
            <ac:picMk id="26" creationId="{141D31DA-8810-4A7D-A352-CB17C16B7B24}"/>
          </ac:picMkLst>
        </pc:picChg>
        <pc:picChg chg="add mod">
          <ac:chgData name="Katerine Schifino" userId="37bb67de-9fcf-4611-888c-7e5b58184a2a" providerId="ADAL" clId="{492CA766-37C7-49E7-917E-99FEE8BB3045}" dt="2022-03-09T13:38:57.855" v="352" actId="164"/>
          <ac:picMkLst>
            <pc:docMk/>
            <pc:sldMk cId="4029788326" sldId="2146846083"/>
            <ac:picMk id="28" creationId="{241C1631-8179-4B11-BB3E-01724EB373F8}"/>
          </ac:picMkLst>
        </pc:picChg>
        <pc:picChg chg="add mod">
          <ac:chgData name="Katerine Schifino" userId="37bb67de-9fcf-4611-888c-7e5b58184a2a" providerId="ADAL" clId="{492CA766-37C7-49E7-917E-99FEE8BB3045}" dt="2022-03-09T13:46:31.075" v="416" actId="1076"/>
          <ac:picMkLst>
            <pc:docMk/>
            <pc:sldMk cId="4029788326" sldId="2146846083"/>
            <ac:picMk id="1026" creationId="{DDA77EEE-D515-4B46-9DAA-FDA12E8BAA13}"/>
          </ac:picMkLst>
        </pc:picChg>
        <pc:picChg chg="add del mod">
          <ac:chgData name="Katerine Schifino" userId="37bb67de-9fcf-4611-888c-7e5b58184a2a" providerId="ADAL" clId="{492CA766-37C7-49E7-917E-99FEE8BB3045}" dt="2022-03-09T13:34:41.490" v="286" actId="478"/>
          <ac:picMkLst>
            <pc:docMk/>
            <pc:sldMk cId="4029788326" sldId="2146846083"/>
            <ac:picMk id="1028" creationId="{9648605F-A031-46ED-91CC-975E0589718D}"/>
          </ac:picMkLst>
        </pc:picChg>
        <pc:picChg chg="add del mod">
          <ac:chgData name="Katerine Schifino" userId="37bb67de-9fcf-4611-888c-7e5b58184a2a" providerId="ADAL" clId="{492CA766-37C7-49E7-917E-99FEE8BB3045}" dt="2022-03-09T13:40:59.026" v="374" actId="478"/>
          <ac:picMkLst>
            <pc:docMk/>
            <pc:sldMk cId="4029788326" sldId="2146846083"/>
            <ac:picMk id="1030" creationId="{00F0C747-EE84-4119-AB63-60C94E38A7E5}"/>
          </ac:picMkLst>
        </pc:picChg>
        <pc:picChg chg="add mod">
          <ac:chgData name="Katerine Schifino" userId="37bb67de-9fcf-4611-888c-7e5b58184a2a" providerId="ADAL" clId="{492CA766-37C7-49E7-917E-99FEE8BB3045}" dt="2022-03-09T13:46:17.415" v="412" actId="1076"/>
          <ac:picMkLst>
            <pc:docMk/>
            <pc:sldMk cId="4029788326" sldId="2146846083"/>
            <ac:picMk id="1032" creationId="{28282688-4FF3-43D8-9BC5-9D264FEF3124}"/>
          </ac:picMkLst>
        </pc:picChg>
        <pc:picChg chg="add mod">
          <ac:chgData name="Katerine Schifino" userId="37bb67de-9fcf-4611-888c-7e5b58184a2a" providerId="ADAL" clId="{492CA766-37C7-49E7-917E-99FEE8BB3045}" dt="2022-03-09T13:46:19.207" v="413" actId="1076"/>
          <ac:picMkLst>
            <pc:docMk/>
            <pc:sldMk cId="4029788326" sldId="2146846083"/>
            <ac:picMk id="1034" creationId="{114E4872-53B0-416D-B1C1-4FABB9AA7205}"/>
          </ac:picMkLst>
        </pc:picChg>
        <pc:cxnChg chg="add mod">
          <ac:chgData name="Katerine Schifino" userId="37bb67de-9fcf-4611-888c-7e5b58184a2a" providerId="ADAL" clId="{492CA766-37C7-49E7-917E-99FEE8BB3045}" dt="2022-03-09T13:47:29.956" v="425" actId="1076"/>
          <ac:cxnSpMkLst>
            <pc:docMk/>
            <pc:sldMk cId="4029788326" sldId="2146846083"/>
            <ac:cxnSpMk id="39" creationId="{96FB56F6-2407-48C5-A8F0-72BB2721DE29}"/>
          </ac:cxnSpMkLst>
        </pc:cxnChg>
        <pc:cxnChg chg="add mod">
          <ac:chgData name="Katerine Schifino" userId="37bb67de-9fcf-4611-888c-7e5b58184a2a" providerId="ADAL" clId="{492CA766-37C7-49E7-917E-99FEE8BB3045}" dt="2022-03-09T13:47:34.575" v="427" actId="1076"/>
          <ac:cxnSpMkLst>
            <pc:docMk/>
            <pc:sldMk cId="4029788326" sldId="2146846083"/>
            <ac:cxnSpMk id="40" creationId="{2FE5F548-F342-40F6-9AFE-C628484B7D16}"/>
          </ac:cxnSpMkLst>
        </pc:cxnChg>
        <pc:cxnChg chg="add mod">
          <ac:chgData name="Katerine Schifino" userId="37bb67de-9fcf-4611-888c-7e5b58184a2a" providerId="ADAL" clId="{492CA766-37C7-49E7-917E-99FEE8BB3045}" dt="2022-03-09T13:47:22.238" v="423" actId="693"/>
          <ac:cxnSpMkLst>
            <pc:docMk/>
            <pc:sldMk cId="4029788326" sldId="2146846083"/>
            <ac:cxnSpMk id="1024" creationId="{EB400315-F640-438F-BD9A-0B8F8D037C4F}"/>
          </ac:cxnSpMkLst>
        </pc:cxnChg>
      </pc:sldChg>
      <pc:sldChg chg="modSp mod">
        <pc:chgData name="Katerine Schifino" userId="37bb67de-9fcf-4611-888c-7e5b58184a2a" providerId="ADAL" clId="{492CA766-37C7-49E7-917E-99FEE8BB3045}" dt="2022-03-09T17:02:10.577" v="2831" actId="1076"/>
        <pc:sldMkLst>
          <pc:docMk/>
          <pc:sldMk cId="1230900351" sldId="2146846085"/>
        </pc:sldMkLst>
        <pc:spChg chg="mod">
          <ac:chgData name="Katerine Schifino" userId="37bb67de-9fcf-4611-888c-7e5b58184a2a" providerId="ADAL" clId="{492CA766-37C7-49E7-917E-99FEE8BB3045}" dt="2022-03-09T14:04:24.678" v="626"/>
          <ac:spMkLst>
            <pc:docMk/>
            <pc:sldMk cId="1230900351" sldId="2146846085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09T17:02:07.247" v="2830" actId="1076"/>
          <ac:spMkLst>
            <pc:docMk/>
            <pc:sldMk cId="1230900351" sldId="2146846085"/>
            <ac:spMk id="20" creationId="{4638D83B-B0A3-46E5-A1ED-BDF11A3CF4F2}"/>
          </ac:spMkLst>
        </pc:spChg>
        <pc:spChg chg="mod">
          <ac:chgData name="Katerine Schifino" userId="37bb67de-9fcf-4611-888c-7e5b58184a2a" providerId="ADAL" clId="{492CA766-37C7-49E7-917E-99FEE8BB3045}" dt="2022-03-09T17:02:10.577" v="2831" actId="1076"/>
          <ac:spMkLst>
            <pc:docMk/>
            <pc:sldMk cId="1230900351" sldId="2146846085"/>
            <ac:spMk id="21" creationId="{3C175686-E1E0-449D-93A9-5F194FE56602}"/>
          </ac:spMkLst>
        </pc:spChg>
        <pc:spChg chg="mod">
          <ac:chgData name="Katerine Schifino" userId="37bb67de-9fcf-4611-888c-7e5b58184a2a" providerId="ADAL" clId="{492CA766-37C7-49E7-917E-99FEE8BB3045}" dt="2022-03-09T14:11:05.630" v="664" actId="207"/>
          <ac:spMkLst>
            <pc:docMk/>
            <pc:sldMk cId="1230900351" sldId="2146846085"/>
            <ac:spMk id="54" creationId="{CA33CA92-6C9A-4BBF-A9CA-3EB3057DD5D4}"/>
          </ac:spMkLst>
        </pc:spChg>
      </pc:sldChg>
      <pc:sldChg chg="addSp delSp modSp mod">
        <pc:chgData name="Katerine Schifino" userId="37bb67de-9fcf-4611-888c-7e5b58184a2a" providerId="ADAL" clId="{492CA766-37C7-49E7-917E-99FEE8BB3045}" dt="2022-03-09T15:49:12.970" v="1939" actId="20577"/>
        <pc:sldMkLst>
          <pc:docMk/>
          <pc:sldMk cId="2851014050" sldId="2146846086"/>
        </pc:sldMkLst>
        <pc:spChg chg="mod">
          <ac:chgData name="Katerine Schifino" userId="37bb67de-9fcf-4611-888c-7e5b58184a2a" providerId="ADAL" clId="{492CA766-37C7-49E7-917E-99FEE8BB3045}" dt="2022-03-09T15:24:51.231" v="1658" actId="6549"/>
          <ac:spMkLst>
            <pc:docMk/>
            <pc:sldMk cId="2851014050" sldId="2146846086"/>
            <ac:spMk id="3" creationId="{D27D7BD4-79A4-4F74-AEDD-B6DF3D38FA7F}"/>
          </ac:spMkLst>
        </pc:spChg>
        <pc:spChg chg="mod">
          <ac:chgData name="Katerine Schifino" userId="37bb67de-9fcf-4611-888c-7e5b58184a2a" providerId="ADAL" clId="{492CA766-37C7-49E7-917E-99FEE8BB3045}" dt="2022-03-09T15:49:12.970" v="1939" actId="20577"/>
          <ac:spMkLst>
            <pc:docMk/>
            <pc:sldMk cId="2851014050" sldId="2146846086"/>
            <ac:spMk id="4" creationId="{CB7FC126-B18B-4488-BEC7-75909B7023CC}"/>
          </ac:spMkLst>
        </pc:spChg>
        <pc:spChg chg="add mod">
          <ac:chgData name="Katerine Schifino" userId="37bb67de-9fcf-4611-888c-7e5b58184a2a" providerId="ADAL" clId="{492CA766-37C7-49E7-917E-99FEE8BB3045}" dt="2022-03-09T15:48:25.380" v="1932" actId="1036"/>
          <ac:spMkLst>
            <pc:docMk/>
            <pc:sldMk cId="2851014050" sldId="2146846086"/>
            <ac:spMk id="5" creationId="{CE0A2097-C16B-40B9-998B-BADE8D8FD360}"/>
          </ac:spMkLst>
        </pc:spChg>
        <pc:spChg chg="add mod">
          <ac:chgData name="Katerine Schifino" userId="37bb67de-9fcf-4611-888c-7e5b58184a2a" providerId="ADAL" clId="{492CA766-37C7-49E7-917E-99FEE8BB3045}" dt="2022-03-09T15:41:50.571" v="1843" actId="1076"/>
          <ac:spMkLst>
            <pc:docMk/>
            <pc:sldMk cId="2851014050" sldId="2146846086"/>
            <ac:spMk id="7" creationId="{765ED80A-AA2A-4A29-BE5D-D05A71AE7A89}"/>
          </ac:spMkLst>
        </pc:spChg>
        <pc:spChg chg="add mod ord">
          <ac:chgData name="Katerine Schifino" userId="37bb67de-9fcf-4611-888c-7e5b58184a2a" providerId="ADAL" clId="{492CA766-37C7-49E7-917E-99FEE8BB3045}" dt="2022-03-09T15:48:25.380" v="1932" actId="1036"/>
          <ac:spMkLst>
            <pc:docMk/>
            <pc:sldMk cId="2851014050" sldId="2146846086"/>
            <ac:spMk id="16" creationId="{00550377-C6B7-4E09-B418-4241A27A6C7C}"/>
          </ac:spMkLst>
        </pc:spChg>
        <pc:spChg chg="add mod ord">
          <ac:chgData name="Katerine Schifino" userId="37bb67de-9fcf-4611-888c-7e5b58184a2a" providerId="ADAL" clId="{492CA766-37C7-49E7-917E-99FEE8BB3045}" dt="2022-03-09T15:48:25.380" v="1932" actId="1036"/>
          <ac:spMkLst>
            <pc:docMk/>
            <pc:sldMk cId="2851014050" sldId="2146846086"/>
            <ac:spMk id="20" creationId="{F3D66EBC-C756-4157-8B54-566C0A7600E8}"/>
          </ac:spMkLst>
        </pc:spChg>
        <pc:spChg chg="add mod ord">
          <ac:chgData name="Katerine Schifino" userId="37bb67de-9fcf-4611-888c-7e5b58184a2a" providerId="ADAL" clId="{492CA766-37C7-49E7-917E-99FEE8BB3045}" dt="2022-03-09T15:48:25.380" v="1932" actId="1036"/>
          <ac:spMkLst>
            <pc:docMk/>
            <pc:sldMk cId="2851014050" sldId="2146846086"/>
            <ac:spMk id="21" creationId="{D8685849-E1C3-4682-A66A-127767AC06D3}"/>
          </ac:spMkLst>
        </pc:spChg>
        <pc:grpChg chg="add mod">
          <ac:chgData name="Katerine Schifino" userId="37bb67de-9fcf-4611-888c-7e5b58184a2a" providerId="ADAL" clId="{492CA766-37C7-49E7-917E-99FEE8BB3045}" dt="2022-03-09T15:48:25.380" v="1932" actId="1036"/>
          <ac:grpSpMkLst>
            <pc:docMk/>
            <pc:sldMk cId="2851014050" sldId="2146846086"/>
            <ac:grpSpMk id="17" creationId="{D8827DAF-3D37-4E78-A1F2-545BA283318C}"/>
          </ac:grpSpMkLst>
        </pc:grpChg>
        <pc:grpChg chg="add mod">
          <ac:chgData name="Katerine Schifino" userId="37bb67de-9fcf-4611-888c-7e5b58184a2a" providerId="ADAL" clId="{492CA766-37C7-49E7-917E-99FEE8BB3045}" dt="2022-03-09T15:48:25.380" v="1932" actId="1036"/>
          <ac:grpSpMkLst>
            <pc:docMk/>
            <pc:sldMk cId="2851014050" sldId="2146846086"/>
            <ac:grpSpMk id="26" creationId="{75191A7F-C3B0-4021-B8D0-D93D7DE65F41}"/>
          </ac:grpSpMkLst>
        </pc:grpChg>
        <pc:picChg chg="add mod">
          <ac:chgData name="Katerine Schifino" userId="37bb67de-9fcf-4611-888c-7e5b58184a2a" providerId="ADAL" clId="{492CA766-37C7-49E7-917E-99FEE8BB3045}" dt="2022-03-09T15:48:25.380" v="1932" actId="1036"/>
          <ac:picMkLst>
            <pc:docMk/>
            <pc:sldMk cId="2851014050" sldId="2146846086"/>
            <ac:picMk id="9" creationId="{55B7D5C8-8192-4E40-9139-7C94CDA468A7}"/>
          </ac:picMkLst>
        </pc:picChg>
        <pc:picChg chg="add del mod">
          <ac:chgData name="Katerine Schifino" userId="37bb67de-9fcf-4611-888c-7e5b58184a2a" providerId="ADAL" clId="{492CA766-37C7-49E7-917E-99FEE8BB3045}" dt="2022-03-09T15:44:49.140" v="1866" actId="478"/>
          <ac:picMkLst>
            <pc:docMk/>
            <pc:sldMk cId="2851014050" sldId="2146846086"/>
            <ac:picMk id="11" creationId="{FB632E6A-9AD9-4F5C-996A-E171CF688BD5}"/>
          </ac:picMkLst>
        </pc:picChg>
        <pc:picChg chg="add mod">
          <ac:chgData name="Katerine Schifino" userId="37bb67de-9fcf-4611-888c-7e5b58184a2a" providerId="ADAL" clId="{492CA766-37C7-49E7-917E-99FEE8BB3045}" dt="2022-03-09T15:48:25.380" v="1932" actId="1036"/>
          <ac:picMkLst>
            <pc:docMk/>
            <pc:sldMk cId="2851014050" sldId="2146846086"/>
            <ac:picMk id="13" creationId="{D90C76E4-1C6C-40DF-9600-57568513C3D6}"/>
          </ac:picMkLst>
        </pc:picChg>
        <pc:picChg chg="add mod">
          <ac:chgData name="Katerine Schifino" userId="37bb67de-9fcf-4611-888c-7e5b58184a2a" providerId="ADAL" clId="{492CA766-37C7-49E7-917E-99FEE8BB3045}" dt="2022-03-09T15:48:25.380" v="1932" actId="1036"/>
          <ac:picMkLst>
            <pc:docMk/>
            <pc:sldMk cId="2851014050" sldId="2146846086"/>
            <ac:picMk id="15" creationId="{309EBF44-E90A-491E-8558-14F7DCFB3E5A}"/>
          </ac:picMkLst>
        </pc:picChg>
        <pc:picChg chg="add mod">
          <ac:chgData name="Katerine Schifino" userId="37bb67de-9fcf-4611-888c-7e5b58184a2a" providerId="ADAL" clId="{492CA766-37C7-49E7-917E-99FEE8BB3045}" dt="2022-03-09T15:48:25.380" v="1932" actId="1036"/>
          <ac:picMkLst>
            <pc:docMk/>
            <pc:sldMk cId="2851014050" sldId="2146846086"/>
            <ac:picMk id="19" creationId="{1F1AF863-2770-455E-B473-DD8AA5D56B71}"/>
          </ac:picMkLst>
        </pc:picChg>
        <pc:picChg chg="add mod">
          <ac:chgData name="Katerine Schifino" userId="37bb67de-9fcf-4611-888c-7e5b58184a2a" providerId="ADAL" clId="{492CA766-37C7-49E7-917E-99FEE8BB3045}" dt="2022-03-09T15:48:25.380" v="1932" actId="1036"/>
          <ac:picMkLst>
            <pc:docMk/>
            <pc:sldMk cId="2851014050" sldId="2146846086"/>
            <ac:picMk id="23" creationId="{94967B6F-DF03-42E8-B465-CF7DF8BAFF67}"/>
          </ac:picMkLst>
        </pc:picChg>
        <pc:picChg chg="add mod">
          <ac:chgData name="Katerine Schifino" userId="37bb67de-9fcf-4611-888c-7e5b58184a2a" providerId="ADAL" clId="{492CA766-37C7-49E7-917E-99FEE8BB3045}" dt="2022-03-09T15:48:25.380" v="1932" actId="1036"/>
          <ac:picMkLst>
            <pc:docMk/>
            <pc:sldMk cId="2851014050" sldId="2146846086"/>
            <ac:picMk id="25" creationId="{BAA7D145-BE09-48E0-8B74-B02FCA7C0574}"/>
          </ac:picMkLst>
        </pc:picChg>
        <pc:picChg chg="add del mod">
          <ac:chgData name="Katerine Schifino" userId="37bb67de-9fcf-4611-888c-7e5b58184a2a" providerId="ADAL" clId="{492CA766-37C7-49E7-917E-99FEE8BB3045}" dt="2022-03-09T15:35:23.153" v="1783" actId="478"/>
          <ac:picMkLst>
            <pc:docMk/>
            <pc:sldMk cId="2851014050" sldId="2146846086"/>
            <ac:picMk id="4098" creationId="{9DF616C5-ECFF-43BA-AE4F-F69351402498}"/>
          </ac:picMkLst>
        </pc:picChg>
        <pc:picChg chg="add mod">
          <ac:chgData name="Katerine Schifino" userId="37bb67de-9fcf-4611-888c-7e5b58184a2a" providerId="ADAL" clId="{492CA766-37C7-49E7-917E-99FEE8BB3045}" dt="2022-03-09T15:41:54.361" v="1844" actId="1076"/>
          <ac:picMkLst>
            <pc:docMk/>
            <pc:sldMk cId="2851014050" sldId="2146846086"/>
            <ac:picMk id="4100" creationId="{302C0A23-72ED-4E4D-AF9A-D7FBAF1939D3}"/>
          </ac:picMkLst>
        </pc:picChg>
        <pc:picChg chg="add mod">
          <ac:chgData name="Katerine Schifino" userId="37bb67de-9fcf-4611-888c-7e5b58184a2a" providerId="ADAL" clId="{492CA766-37C7-49E7-917E-99FEE8BB3045}" dt="2022-03-09T15:48:25.380" v="1932" actId="1036"/>
          <ac:picMkLst>
            <pc:docMk/>
            <pc:sldMk cId="2851014050" sldId="2146846086"/>
            <ac:picMk id="4102" creationId="{2E05A060-3540-4546-807F-C4F5AEE89C41}"/>
          </ac:picMkLst>
        </pc:picChg>
        <pc:cxnChg chg="add del mod">
          <ac:chgData name="Katerine Schifino" userId="37bb67de-9fcf-4611-888c-7e5b58184a2a" providerId="ADAL" clId="{492CA766-37C7-49E7-917E-99FEE8BB3045}" dt="2022-03-09T15:48:18.250" v="1918" actId="478"/>
          <ac:cxnSpMkLst>
            <pc:docMk/>
            <pc:sldMk cId="2851014050" sldId="2146846086"/>
            <ac:cxnSpMk id="28" creationId="{76A67DB8-567E-4BF4-AE56-4DEE0DBD3EDF}"/>
          </ac:cxnSpMkLst>
        </pc:cxnChg>
        <pc:cxnChg chg="add mod">
          <ac:chgData name="Katerine Schifino" userId="37bb67de-9fcf-4611-888c-7e5b58184a2a" providerId="ADAL" clId="{492CA766-37C7-49E7-917E-99FEE8BB3045}" dt="2022-03-09T15:48:25.380" v="1932" actId="1036"/>
          <ac:cxnSpMkLst>
            <pc:docMk/>
            <pc:sldMk cId="2851014050" sldId="2146846086"/>
            <ac:cxnSpMk id="32" creationId="{11AF03D5-F1FB-48B3-89E3-282B9B22B7F8}"/>
          </ac:cxnSpMkLst>
        </pc:cxnChg>
      </pc:sldChg>
      <pc:sldChg chg="addSp delSp modSp del mod modClrScheme chgLayout modNotesTx">
        <pc:chgData name="Katerine Schifino" userId="37bb67de-9fcf-4611-888c-7e5b58184a2a" providerId="ADAL" clId="{492CA766-37C7-49E7-917E-99FEE8BB3045}" dt="2022-03-09T15:51:41.500" v="1941" actId="47"/>
        <pc:sldMkLst>
          <pc:docMk/>
          <pc:sldMk cId="3819789892" sldId="2146846087"/>
        </pc:sldMkLst>
        <pc:spChg chg="del mod ord">
          <ac:chgData name="Katerine Schifino" userId="37bb67de-9fcf-4611-888c-7e5b58184a2a" providerId="ADAL" clId="{492CA766-37C7-49E7-917E-99FEE8BB3045}" dt="2022-03-09T15:03:03.987" v="1259" actId="478"/>
          <ac:spMkLst>
            <pc:docMk/>
            <pc:sldMk cId="3819789892" sldId="2146846087"/>
            <ac:spMk id="2" creationId="{C0E9A057-F805-4750-9C97-49B491EDA40C}"/>
          </ac:spMkLst>
        </pc:spChg>
        <pc:spChg chg="del mod ord">
          <ac:chgData name="Katerine Schifino" userId="37bb67de-9fcf-4611-888c-7e5b58184a2a" providerId="ADAL" clId="{492CA766-37C7-49E7-917E-99FEE8BB3045}" dt="2022-03-09T15:03:06.047" v="1260" actId="478"/>
          <ac:spMkLst>
            <pc:docMk/>
            <pc:sldMk cId="3819789892" sldId="2146846087"/>
            <ac:spMk id="3" creationId="{F4A95292-C17D-4596-AC2A-D617A46EBAA8}"/>
          </ac:spMkLst>
        </pc:spChg>
        <pc:spChg chg="add mod">
          <ac:chgData name="Katerine Schifino" userId="37bb67de-9fcf-4611-888c-7e5b58184a2a" providerId="ADAL" clId="{492CA766-37C7-49E7-917E-99FEE8BB3045}" dt="2022-03-09T15:03:55.601" v="1263" actId="207"/>
          <ac:spMkLst>
            <pc:docMk/>
            <pc:sldMk cId="3819789892" sldId="2146846087"/>
            <ac:spMk id="5" creationId="{9C9D9CE3-BC55-451D-BCA8-2E89350DDF3F}"/>
          </ac:spMkLst>
        </pc:spChg>
        <pc:picChg chg="add del mod">
          <ac:chgData name="Katerine Schifino" userId="37bb67de-9fcf-4611-888c-7e5b58184a2a" providerId="ADAL" clId="{492CA766-37C7-49E7-917E-99FEE8BB3045}" dt="2022-03-09T15:03:50.636" v="1262" actId="478"/>
          <ac:picMkLst>
            <pc:docMk/>
            <pc:sldMk cId="3819789892" sldId="2146846087"/>
            <ac:picMk id="4" creationId="{F53401F9-5733-4290-AF60-D75FD83955C4}"/>
          </ac:picMkLst>
        </pc:picChg>
      </pc:sldChg>
      <pc:sldChg chg="addSp delSp modSp mod modClrScheme chgLayout">
        <pc:chgData name="Katerine Schifino" userId="37bb67de-9fcf-4611-888c-7e5b58184a2a" providerId="ADAL" clId="{492CA766-37C7-49E7-917E-99FEE8BB3045}" dt="2022-03-14T13:23:27.179" v="3949" actId="113"/>
        <pc:sldMkLst>
          <pc:docMk/>
          <pc:sldMk cId="383325140" sldId="2146846088"/>
        </pc:sldMkLst>
        <pc:spChg chg="mod">
          <ac:chgData name="Katerine Schifino" userId="37bb67de-9fcf-4611-888c-7e5b58184a2a" providerId="ADAL" clId="{492CA766-37C7-49E7-917E-99FEE8BB3045}" dt="2022-03-14T13:23:02.765" v="3942" actId="1076"/>
          <ac:spMkLst>
            <pc:docMk/>
            <pc:sldMk cId="383325140" sldId="2146846088"/>
            <ac:spMk id="4" creationId="{CDF94B85-8F07-485F-B1AC-F63AC631DAEF}"/>
          </ac:spMkLst>
        </pc:spChg>
        <pc:spChg chg="mod">
          <ac:chgData name="Katerine Schifino" userId="37bb67de-9fcf-4611-888c-7e5b58184a2a" providerId="ADAL" clId="{492CA766-37C7-49E7-917E-99FEE8BB3045}" dt="2022-03-14T13:23:27.179" v="3949" actId="113"/>
          <ac:spMkLst>
            <pc:docMk/>
            <pc:sldMk cId="383325140" sldId="2146846088"/>
            <ac:spMk id="7" creationId="{9D971B76-39BB-4F59-925B-D4649E5075A1}"/>
          </ac:spMkLst>
        </pc:spChg>
        <pc:spChg chg="mod">
          <ac:chgData name="Katerine Schifino" userId="37bb67de-9fcf-4611-888c-7e5b58184a2a" providerId="ADAL" clId="{492CA766-37C7-49E7-917E-99FEE8BB3045}" dt="2022-03-14T13:23:02.765" v="3942" actId="1076"/>
          <ac:spMkLst>
            <pc:docMk/>
            <pc:sldMk cId="383325140" sldId="2146846088"/>
            <ac:spMk id="8" creationId="{515A97A6-207B-4714-80E8-D1075523A151}"/>
          </ac:spMkLst>
        </pc:spChg>
        <pc:spChg chg="add del mod">
          <ac:chgData name="Katerine Schifino" userId="37bb67de-9fcf-4611-888c-7e5b58184a2a" providerId="ADAL" clId="{492CA766-37C7-49E7-917E-99FEE8BB3045}" dt="2022-03-09T20:13:21.373" v="3142" actId="478"/>
          <ac:spMkLst>
            <pc:docMk/>
            <pc:sldMk cId="383325140" sldId="2146846088"/>
            <ac:spMk id="9" creationId="{CF68D8A5-10E8-4576-AE8C-578B03C3E80D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2" creationId="{D5A95070-4965-4F87-8DE3-DBDBAF6C092B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3" creationId="{E41CDAC0-9165-44BD-BD58-7CEF69AE7ACD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4" creationId="{F06A19F5-928B-4C6F-A834-13763BE4CDB4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5" creationId="{609670D7-1FF4-4C7C-9DE7-96372BB488E4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6" creationId="{848BBA26-F191-4977-ACA0-F4DFC41B299C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7" creationId="{CE2D1579-8166-4DF1-921A-ADCDA55B91BA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8" creationId="{276D7BB2-CDBC-405F-A507-F1B98897FA78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19" creationId="{1CEBE4EE-991E-4DFE-BD8E-F6BB1772F943}"/>
          </ac:spMkLst>
        </pc:spChg>
        <pc:spChg chg="del">
          <ac:chgData name="Katerine Schifino" userId="37bb67de-9fcf-4611-888c-7e5b58184a2a" providerId="ADAL" clId="{492CA766-37C7-49E7-917E-99FEE8BB3045}" dt="2022-03-09T15:57:17.461" v="1980" actId="478"/>
          <ac:spMkLst>
            <pc:docMk/>
            <pc:sldMk cId="383325140" sldId="2146846088"/>
            <ac:spMk id="20" creationId="{78B5DFB7-95B6-48CF-B15E-D9245E492B65}"/>
          </ac:spMkLst>
        </pc:spChg>
        <pc:spChg chg="mod">
          <ac:chgData name="Katerine Schifino" userId="37bb67de-9fcf-4611-888c-7e5b58184a2a" providerId="ADAL" clId="{492CA766-37C7-49E7-917E-99FEE8BB3045}" dt="2022-03-09T16:47:51.747" v="2824"/>
          <ac:spMkLst>
            <pc:docMk/>
            <pc:sldMk cId="383325140" sldId="2146846088"/>
            <ac:spMk id="22" creationId="{ECFAE57A-DB3A-4A49-9BAC-94CBB2D79F39}"/>
          </ac:spMkLst>
        </pc:spChg>
        <pc:grpChg chg="add mod">
          <ac:chgData name="Katerine Schifino" userId="37bb67de-9fcf-4611-888c-7e5b58184a2a" providerId="ADAL" clId="{492CA766-37C7-49E7-917E-99FEE8BB3045}" dt="2022-03-14T13:23:02.765" v="3942" actId="1076"/>
          <ac:grpSpMkLst>
            <pc:docMk/>
            <pc:sldMk cId="383325140" sldId="2146846088"/>
            <ac:grpSpMk id="3" creationId="{DB04D122-840A-4341-8150-EB5701BBB290}"/>
          </ac:grpSpMkLst>
        </pc:grpChg>
        <pc:grpChg chg="add del mod">
          <ac:chgData name="Katerine Schifino" userId="37bb67de-9fcf-4611-888c-7e5b58184a2a" providerId="ADAL" clId="{492CA766-37C7-49E7-917E-99FEE8BB3045}" dt="2022-03-09T20:13:19.248" v="3141" actId="478"/>
          <ac:grpSpMkLst>
            <pc:docMk/>
            <pc:sldMk cId="383325140" sldId="2146846088"/>
            <ac:grpSpMk id="10" creationId="{C10B9DAD-C892-4F2D-ABB8-438C386E75BD}"/>
          </ac:grpSpMkLst>
        </pc:grpChg>
        <pc:grpChg chg="mod">
          <ac:chgData name="Katerine Schifino" userId="37bb67de-9fcf-4611-888c-7e5b58184a2a" providerId="ADAL" clId="{492CA766-37C7-49E7-917E-99FEE8BB3045}" dt="2022-03-09T16:47:51.747" v="2824"/>
          <ac:grpSpMkLst>
            <pc:docMk/>
            <pc:sldMk cId="383325140" sldId="2146846088"/>
            <ac:grpSpMk id="11" creationId="{96237173-F080-42F8-9962-E14A813FE6ED}"/>
          </ac:grpSpMkLst>
        </pc:grpChg>
        <pc:picChg chg="mod">
          <ac:chgData name="Katerine Schifino" userId="37bb67de-9fcf-4611-888c-7e5b58184a2a" providerId="ADAL" clId="{492CA766-37C7-49E7-917E-99FEE8BB3045}" dt="2022-03-14T13:23:02.765" v="3942" actId="1076"/>
          <ac:picMkLst>
            <pc:docMk/>
            <pc:sldMk cId="383325140" sldId="2146846088"/>
            <ac:picMk id="5" creationId="{12996408-065C-4526-8009-AE3AEC40FC1B}"/>
          </ac:picMkLst>
        </pc:picChg>
        <pc:picChg chg="mod">
          <ac:chgData name="Katerine Schifino" userId="37bb67de-9fcf-4611-888c-7e5b58184a2a" providerId="ADAL" clId="{492CA766-37C7-49E7-917E-99FEE8BB3045}" dt="2022-03-14T13:23:02.765" v="3942" actId="1076"/>
          <ac:picMkLst>
            <pc:docMk/>
            <pc:sldMk cId="383325140" sldId="2146846088"/>
            <ac:picMk id="6" creationId="{239FD932-8455-45DB-8332-706D17A536EA}"/>
          </ac:picMkLst>
        </pc:picChg>
        <pc:picChg chg="mod">
          <ac:chgData name="Katerine Schifino" userId="37bb67de-9fcf-4611-888c-7e5b58184a2a" providerId="ADAL" clId="{492CA766-37C7-49E7-917E-99FEE8BB3045}" dt="2022-03-09T16:47:51.747" v="2824"/>
          <ac:picMkLst>
            <pc:docMk/>
            <pc:sldMk cId="383325140" sldId="2146846088"/>
            <ac:picMk id="21" creationId="{0EF9AE1B-74FF-4A91-9199-5CBF4923420D}"/>
          </ac:picMkLst>
        </pc:picChg>
      </pc:sldChg>
      <pc:sldChg chg="add del">
        <pc:chgData name="Katerine Schifino" userId="37bb67de-9fcf-4611-888c-7e5b58184a2a" providerId="ADAL" clId="{492CA766-37C7-49E7-917E-99FEE8BB3045}" dt="2022-03-09T14:56:20.417" v="1138" actId="47"/>
        <pc:sldMkLst>
          <pc:docMk/>
          <pc:sldMk cId="2244262079" sldId="2146846089"/>
        </pc:sldMkLst>
      </pc:sldChg>
      <pc:sldChg chg="modSp add">
        <pc:chgData name="Katerine Schifino" userId="37bb67de-9fcf-4611-888c-7e5b58184a2a" providerId="ADAL" clId="{492CA766-37C7-49E7-917E-99FEE8BB3045}" dt="2022-03-09T16:26:43.931" v="2823"/>
        <pc:sldMkLst>
          <pc:docMk/>
          <pc:sldMk cId="3736734467" sldId="2146846089"/>
        </pc:sldMkLst>
        <pc:graphicFrameChg chg="mod">
          <ac:chgData name="Katerine Schifino" userId="37bb67de-9fcf-4611-888c-7e5b58184a2a" providerId="ADAL" clId="{492CA766-37C7-49E7-917E-99FEE8BB3045}" dt="2022-03-09T16:26:43.931" v="2823"/>
          <ac:graphicFrameMkLst>
            <pc:docMk/>
            <pc:sldMk cId="3736734467" sldId="2146846089"/>
            <ac:graphicFrameMk id="2" creationId="{DABEA71B-03AC-48AD-8E3A-F5B4F36922D0}"/>
          </ac:graphicFrameMkLst>
        </pc:graphicFrameChg>
      </pc:sldChg>
      <pc:sldChg chg="modSp add">
        <pc:chgData name="Katerine Schifino" userId="37bb67de-9fcf-4611-888c-7e5b58184a2a" providerId="ADAL" clId="{492CA766-37C7-49E7-917E-99FEE8BB3045}" dt="2022-03-09T16:26:31.038" v="2821"/>
        <pc:sldMkLst>
          <pc:docMk/>
          <pc:sldMk cId="1449545104" sldId="2146846090"/>
        </pc:sldMkLst>
        <pc:graphicFrameChg chg="mod">
          <ac:chgData name="Katerine Schifino" userId="37bb67de-9fcf-4611-888c-7e5b58184a2a" providerId="ADAL" clId="{492CA766-37C7-49E7-917E-99FEE8BB3045}" dt="2022-03-09T16:26:31.038" v="2821"/>
          <ac:graphicFrameMkLst>
            <pc:docMk/>
            <pc:sldMk cId="1449545104" sldId="2146846090"/>
            <ac:graphicFrameMk id="2" creationId="{DABEA71B-03AC-48AD-8E3A-F5B4F36922D0}"/>
          </ac:graphicFrameMkLst>
        </pc:graphicFrameChg>
      </pc:sldChg>
      <pc:sldChg chg="modSp add">
        <pc:chgData name="Katerine Schifino" userId="37bb67de-9fcf-4611-888c-7e5b58184a2a" providerId="ADAL" clId="{492CA766-37C7-49E7-917E-99FEE8BB3045}" dt="2022-03-09T16:26:08.568" v="2819"/>
        <pc:sldMkLst>
          <pc:docMk/>
          <pc:sldMk cId="198724141" sldId="2146846091"/>
        </pc:sldMkLst>
        <pc:graphicFrameChg chg="mod">
          <ac:chgData name="Katerine Schifino" userId="37bb67de-9fcf-4611-888c-7e5b58184a2a" providerId="ADAL" clId="{492CA766-37C7-49E7-917E-99FEE8BB3045}" dt="2022-03-09T16:26:08.568" v="2819"/>
          <ac:graphicFrameMkLst>
            <pc:docMk/>
            <pc:sldMk cId="198724141" sldId="2146846091"/>
            <ac:graphicFrameMk id="2" creationId="{DABEA71B-03AC-48AD-8E3A-F5B4F36922D0}"/>
          </ac:graphicFrameMkLst>
        </pc:graphicFrameChg>
      </pc:sldChg>
      <pc:sldChg chg="modSp add">
        <pc:chgData name="Katerine Schifino" userId="37bb67de-9fcf-4611-888c-7e5b58184a2a" providerId="ADAL" clId="{492CA766-37C7-49E7-917E-99FEE8BB3045}" dt="2022-03-09T16:25:49.914" v="2817"/>
        <pc:sldMkLst>
          <pc:docMk/>
          <pc:sldMk cId="1165044527" sldId="2146846092"/>
        </pc:sldMkLst>
        <pc:graphicFrameChg chg="mod">
          <ac:chgData name="Katerine Schifino" userId="37bb67de-9fcf-4611-888c-7e5b58184a2a" providerId="ADAL" clId="{492CA766-37C7-49E7-917E-99FEE8BB3045}" dt="2022-03-09T16:25:49.914" v="2817"/>
          <ac:graphicFrameMkLst>
            <pc:docMk/>
            <pc:sldMk cId="1165044527" sldId="2146846092"/>
            <ac:graphicFrameMk id="2" creationId="{DABEA71B-03AC-48AD-8E3A-F5B4F36922D0}"/>
          </ac:graphicFrameMkLst>
        </pc:graphicFrameChg>
      </pc:sldChg>
      <pc:sldChg chg="addSp delSp modSp add mod">
        <pc:chgData name="Katerine Schifino" userId="37bb67de-9fcf-4611-888c-7e5b58184a2a" providerId="ADAL" clId="{492CA766-37C7-49E7-917E-99FEE8BB3045}" dt="2022-03-09T17:43:27.120" v="2940" actId="164"/>
        <pc:sldMkLst>
          <pc:docMk/>
          <pc:sldMk cId="996753462" sldId="2146846093"/>
        </pc:sldMkLst>
        <pc:spChg chg="del mod">
          <ac:chgData name="Katerine Schifino" userId="37bb67de-9fcf-4611-888c-7e5b58184a2a" providerId="ADAL" clId="{492CA766-37C7-49E7-917E-99FEE8BB3045}" dt="2022-03-09T17:38:46.056" v="2853" actId="478"/>
          <ac:spMkLst>
            <pc:docMk/>
            <pc:sldMk cId="996753462" sldId="2146846093"/>
            <ac:spMk id="8" creationId="{1D7C792A-CC12-479D-8BB8-7678A646EA6C}"/>
          </ac:spMkLst>
        </pc:spChg>
        <pc:spChg chg="del mod">
          <ac:chgData name="Katerine Schifino" userId="37bb67de-9fcf-4611-888c-7e5b58184a2a" providerId="ADAL" clId="{492CA766-37C7-49E7-917E-99FEE8BB3045}" dt="2022-03-09T17:38:48.247" v="2854" actId="478"/>
          <ac:spMkLst>
            <pc:docMk/>
            <pc:sldMk cId="996753462" sldId="2146846093"/>
            <ac:spMk id="11" creationId="{3851A96E-5BEA-49F6-AE48-7397556F5891}"/>
          </ac:spMkLst>
        </pc:spChg>
        <pc:spChg chg="mod topLvl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15" creationId="{691A9BEF-640C-469B-8749-56C2FEB65340}"/>
          </ac:spMkLst>
        </pc:spChg>
        <pc:spChg chg="mod topLvl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16" creationId="{5C1E48BA-319A-46FE-AD4D-EE9089AE53C8}"/>
          </ac:spMkLst>
        </pc:spChg>
        <pc:spChg chg="mod topLvl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17" creationId="{FF77C336-C7D1-4485-8108-03064933CD75}"/>
          </ac:spMkLst>
        </pc:spChg>
        <pc:spChg chg="mod topLvl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18" creationId="{624147BD-B1E0-4DB3-93A0-BC1D277441F2}"/>
          </ac:spMkLst>
        </pc:spChg>
        <pc:spChg chg="mod ord topLvl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20" creationId="{2D2C9E22-4796-41C6-81A9-E3D0FD229542}"/>
          </ac:spMkLst>
        </pc:spChg>
        <pc:spChg chg="mod topLvl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40" creationId="{BB488A38-8730-4291-8B98-A3DD4C97632E}"/>
          </ac:spMkLst>
        </pc:spChg>
        <pc:spChg chg="del mod">
          <ac:chgData name="Katerine Schifino" userId="37bb67de-9fcf-4611-888c-7e5b58184a2a" providerId="ADAL" clId="{492CA766-37C7-49E7-917E-99FEE8BB3045}" dt="2022-03-09T17:38:42.056" v="2852" actId="478"/>
          <ac:spMkLst>
            <pc:docMk/>
            <pc:sldMk cId="996753462" sldId="2146846093"/>
            <ac:spMk id="42" creationId="{19380C9B-01AE-4F68-9C5E-929D539D9599}"/>
          </ac:spMkLst>
        </pc:spChg>
        <pc:spChg chg="mod">
          <ac:chgData name="Katerine Schifino" userId="37bb67de-9fcf-4611-888c-7e5b58184a2a" providerId="ADAL" clId="{492CA766-37C7-49E7-917E-99FEE8BB3045}" dt="2022-03-09T17:38:00.524" v="2840" actId="1076"/>
          <ac:spMkLst>
            <pc:docMk/>
            <pc:sldMk cId="996753462" sldId="2146846093"/>
            <ac:spMk id="48" creationId="{8D585562-C461-46DC-8951-D37959777502}"/>
          </ac:spMkLst>
        </pc:spChg>
        <pc:spChg chg="mod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50" creationId="{B8281D74-70C2-440F-8DA8-BC831A43DB9B}"/>
          </ac:spMkLst>
        </pc:spChg>
        <pc:spChg chg="mod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51" creationId="{7B6CB61C-89AF-47FC-97F7-C868A88EBCCE}"/>
          </ac:spMkLst>
        </pc:spChg>
        <pc:spChg chg="mod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52" creationId="{E4DCC4C1-460C-44DF-A5A9-03450A62099B}"/>
          </ac:spMkLst>
        </pc:spChg>
        <pc:spChg chg="mod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53" creationId="{F341D6D9-C484-4FB1-8544-CE238FD54DF3}"/>
          </ac:spMkLst>
        </pc:spChg>
        <pc:spChg chg="mod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54" creationId="{6B93FF64-B001-4037-9ABE-042BF575205A}"/>
          </ac:spMkLst>
        </pc:spChg>
        <pc:spChg chg="mod">
          <ac:chgData name="Katerine Schifino" userId="37bb67de-9fcf-4611-888c-7e5b58184a2a" providerId="ADAL" clId="{492CA766-37C7-49E7-917E-99FEE8BB3045}" dt="2022-03-09T17:43:25.368" v="2939" actId="1038"/>
          <ac:spMkLst>
            <pc:docMk/>
            <pc:sldMk cId="996753462" sldId="2146846093"/>
            <ac:spMk id="55" creationId="{ACE49B91-D99B-4DE3-9FA4-BA329D18FE31}"/>
          </ac:spMkLst>
        </pc:spChg>
        <pc:grpChg chg="add mod">
          <ac:chgData name="Katerine Schifino" userId="37bb67de-9fcf-4611-888c-7e5b58184a2a" providerId="ADAL" clId="{492CA766-37C7-49E7-917E-99FEE8BB3045}" dt="2022-03-09T17:43:27.120" v="2940" actId="164"/>
          <ac:grpSpMkLst>
            <pc:docMk/>
            <pc:sldMk cId="996753462" sldId="2146846093"/>
            <ac:grpSpMk id="2" creationId="{03D9F298-44D4-4491-9A0B-06C83268D986}"/>
          </ac:grpSpMkLst>
        </pc:grpChg>
        <pc:grpChg chg="add mod">
          <ac:chgData name="Katerine Schifino" userId="37bb67de-9fcf-4611-888c-7e5b58184a2a" providerId="ADAL" clId="{492CA766-37C7-49E7-917E-99FEE8BB3045}" dt="2022-03-09T17:43:27.120" v="2940" actId="164"/>
          <ac:grpSpMkLst>
            <pc:docMk/>
            <pc:sldMk cId="996753462" sldId="2146846093"/>
            <ac:grpSpMk id="3" creationId="{36D7576F-839E-4440-BD2D-A289DF140FE3}"/>
          </ac:grpSpMkLst>
        </pc:grpChg>
        <pc:grpChg chg="del mod topLvl">
          <ac:chgData name="Katerine Schifino" userId="37bb67de-9fcf-4611-888c-7e5b58184a2a" providerId="ADAL" clId="{492CA766-37C7-49E7-917E-99FEE8BB3045}" dt="2022-03-09T17:39:45.447" v="2867" actId="165"/>
          <ac:grpSpMkLst>
            <pc:docMk/>
            <pc:sldMk cId="996753462" sldId="2146846093"/>
            <ac:grpSpMk id="33" creationId="{69F6D422-536D-4A70-AD74-209484933C9B}"/>
          </ac:grpSpMkLst>
        </pc:grpChg>
        <pc:grpChg chg="del mod">
          <ac:chgData name="Katerine Schifino" userId="37bb67de-9fcf-4611-888c-7e5b58184a2a" providerId="ADAL" clId="{492CA766-37C7-49E7-917E-99FEE8BB3045}" dt="2022-03-09T17:37:56.596" v="2838" actId="165"/>
          <ac:grpSpMkLst>
            <pc:docMk/>
            <pc:sldMk cId="996753462" sldId="2146846093"/>
            <ac:grpSpMk id="35" creationId="{2450AB95-9CC3-42DF-8DB8-B20E2C47791B}"/>
          </ac:grpSpMkLst>
        </pc:grpChg>
        <pc:grpChg chg="del mod topLvl">
          <ac:chgData name="Katerine Schifino" userId="37bb67de-9fcf-4611-888c-7e5b58184a2a" providerId="ADAL" clId="{492CA766-37C7-49E7-917E-99FEE8BB3045}" dt="2022-03-09T17:40:13.346" v="2869" actId="165"/>
          <ac:grpSpMkLst>
            <pc:docMk/>
            <pc:sldMk cId="996753462" sldId="2146846093"/>
            <ac:grpSpMk id="41" creationId="{2A5EA2E2-75B7-471C-A88D-716B79676EA2}"/>
          </ac:grpSpMkLst>
        </pc:grpChg>
        <pc:grpChg chg="del mod">
          <ac:chgData name="Katerine Schifino" userId="37bb67de-9fcf-4611-888c-7e5b58184a2a" providerId="ADAL" clId="{492CA766-37C7-49E7-917E-99FEE8BB3045}" dt="2022-03-09T17:38:42.056" v="2852" actId="478"/>
          <ac:grpSpMkLst>
            <pc:docMk/>
            <pc:sldMk cId="996753462" sldId="2146846093"/>
            <ac:grpSpMk id="45" creationId="{DD6B3569-7EE4-441B-B5B3-5E06AE9395FE}"/>
          </ac:grpSpMkLst>
        </pc:grpChg>
        <pc:grpChg chg="mod ord">
          <ac:chgData name="Katerine Schifino" userId="37bb67de-9fcf-4611-888c-7e5b58184a2a" providerId="ADAL" clId="{492CA766-37C7-49E7-917E-99FEE8BB3045}" dt="2022-03-09T17:43:25.368" v="2939" actId="1038"/>
          <ac:grpSpMkLst>
            <pc:docMk/>
            <pc:sldMk cId="996753462" sldId="2146846093"/>
            <ac:grpSpMk id="49" creationId="{D5DEE41B-B348-4288-BB23-0EFD2CE517AA}"/>
          </ac:grpSpMkLst>
        </pc:grpChg>
        <pc:picChg chg="mod topLvl">
          <ac:chgData name="Katerine Schifino" userId="37bb67de-9fcf-4611-888c-7e5b58184a2a" providerId="ADAL" clId="{492CA766-37C7-49E7-917E-99FEE8BB3045}" dt="2022-03-09T17:43:27.120" v="2940" actId="164"/>
          <ac:picMkLst>
            <pc:docMk/>
            <pc:sldMk cId="996753462" sldId="2146846093"/>
            <ac:picMk id="27" creationId="{82004687-F9E8-46A0-93AB-1F6B282455DE}"/>
          </ac:picMkLst>
        </pc:picChg>
        <pc:picChg chg="mod topLvl">
          <ac:chgData name="Katerine Schifino" userId="37bb67de-9fcf-4611-888c-7e5b58184a2a" providerId="ADAL" clId="{492CA766-37C7-49E7-917E-99FEE8BB3045}" dt="2022-03-09T17:43:27.120" v="2940" actId="164"/>
          <ac:picMkLst>
            <pc:docMk/>
            <pc:sldMk cId="996753462" sldId="2146846093"/>
            <ac:picMk id="2050" creationId="{4B4B20DA-CFC1-4B05-9CE7-8473FAEC8D91}"/>
          </ac:picMkLst>
        </pc:picChg>
        <pc:cxnChg chg="del mod">
          <ac:chgData name="Katerine Schifino" userId="37bb67de-9fcf-4611-888c-7e5b58184a2a" providerId="ADAL" clId="{492CA766-37C7-49E7-917E-99FEE8BB3045}" dt="2022-03-09T17:38:50.436" v="2855" actId="478"/>
          <ac:cxnSpMkLst>
            <pc:docMk/>
            <pc:sldMk cId="996753462" sldId="2146846093"/>
            <ac:cxnSpMk id="22" creationId="{A4B1105F-EB80-47DC-9E10-7E951DF1CA8F}"/>
          </ac:cxnSpMkLst>
        </pc:cxnChg>
        <pc:cxnChg chg="del mod">
          <ac:chgData name="Katerine Schifino" userId="37bb67de-9fcf-4611-888c-7e5b58184a2a" providerId="ADAL" clId="{492CA766-37C7-49E7-917E-99FEE8BB3045}" dt="2022-03-09T17:38:52.808" v="2856" actId="478"/>
          <ac:cxnSpMkLst>
            <pc:docMk/>
            <pc:sldMk cId="996753462" sldId="2146846093"/>
            <ac:cxnSpMk id="24" creationId="{D4D6551A-11D7-48DA-8579-96516871FAA8}"/>
          </ac:cxnSpMkLst>
        </pc:cxnChg>
        <pc:cxnChg chg="del mod">
          <ac:chgData name="Katerine Schifino" userId="37bb67de-9fcf-4611-888c-7e5b58184a2a" providerId="ADAL" clId="{492CA766-37C7-49E7-917E-99FEE8BB3045}" dt="2022-03-09T17:38:55.546" v="2857" actId="478"/>
          <ac:cxnSpMkLst>
            <pc:docMk/>
            <pc:sldMk cId="996753462" sldId="2146846093"/>
            <ac:cxnSpMk id="26" creationId="{25485FDE-63EE-4C61-B512-648078940060}"/>
          </ac:cxnSpMkLst>
        </pc:cxnChg>
        <pc:cxnChg chg="del mod">
          <ac:chgData name="Katerine Schifino" userId="37bb67de-9fcf-4611-888c-7e5b58184a2a" providerId="ADAL" clId="{492CA766-37C7-49E7-917E-99FEE8BB3045}" dt="2022-03-09T17:38:57.726" v="2858" actId="478"/>
          <ac:cxnSpMkLst>
            <pc:docMk/>
            <pc:sldMk cId="996753462" sldId="2146846093"/>
            <ac:cxnSpMk id="29" creationId="{FE99AAB1-A30D-42D5-95C3-37DF300A0733}"/>
          </ac:cxnSpMkLst>
        </pc:cxnChg>
        <pc:cxnChg chg="del mod">
          <ac:chgData name="Katerine Schifino" userId="37bb67de-9fcf-4611-888c-7e5b58184a2a" providerId="ADAL" clId="{492CA766-37C7-49E7-917E-99FEE8BB3045}" dt="2022-03-09T17:39:00.276" v="2859" actId="478"/>
          <ac:cxnSpMkLst>
            <pc:docMk/>
            <pc:sldMk cId="996753462" sldId="2146846093"/>
            <ac:cxnSpMk id="34" creationId="{324139A5-BAEC-4729-8353-4D68B5552021}"/>
          </ac:cxnSpMkLst>
        </pc:cxnChg>
        <pc:cxnChg chg="del mod">
          <ac:chgData name="Katerine Schifino" userId="37bb67de-9fcf-4611-888c-7e5b58184a2a" providerId="ADAL" clId="{492CA766-37C7-49E7-917E-99FEE8BB3045}" dt="2022-03-09T17:39:02.728" v="2860" actId="478"/>
          <ac:cxnSpMkLst>
            <pc:docMk/>
            <pc:sldMk cId="996753462" sldId="2146846093"/>
            <ac:cxnSpMk id="36" creationId="{3113F515-4AF6-49AF-9B19-0FD47AFD3ABC}"/>
          </ac:cxnSpMkLst>
        </pc:cxnChg>
      </pc:sldChg>
      <pc:sldChg chg="add">
        <pc:chgData name="Katerine Schifino" userId="37bb67de-9fcf-4611-888c-7e5b58184a2a" providerId="ADAL" clId="{492CA766-37C7-49E7-917E-99FEE8BB3045}" dt="2022-03-14T14:10:39.394" v="3957"/>
        <pc:sldMkLst>
          <pc:docMk/>
          <pc:sldMk cId="2732974769" sldId="2146846094"/>
        </pc:sldMkLst>
      </pc:sldChg>
    </pc:docChg>
  </pc:docChgLst>
  <pc:docChgLst>
    <pc:chgData name="Katerine Schifino" userId="37bb67de-9fcf-4611-888c-7e5b58184a2a" providerId="ADAL" clId="{2595FEE5-B46C-4A48-9139-4FD42CC6AB31}"/>
    <pc:docChg chg="undo custSel addSld delSld modSld sldOrd modSection">
      <pc:chgData name="Katerine Schifino" userId="37bb67de-9fcf-4611-888c-7e5b58184a2a" providerId="ADAL" clId="{2595FEE5-B46C-4A48-9139-4FD42CC6AB31}" dt="2022-03-25T20:22:04.979" v="6137" actId="20577"/>
      <pc:docMkLst>
        <pc:docMk/>
      </pc:docMkLst>
      <pc:sldChg chg="del">
        <pc:chgData name="Katerine Schifino" userId="37bb67de-9fcf-4611-888c-7e5b58184a2a" providerId="ADAL" clId="{2595FEE5-B46C-4A48-9139-4FD42CC6AB31}" dt="2022-03-25T17:52:40.366" v="15" actId="47"/>
        <pc:sldMkLst>
          <pc:docMk/>
          <pc:sldMk cId="3768827191" sldId="385"/>
        </pc:sldMkLst>
      </pc:sldChg>
      <pc:sldChg chg="del">
        <pc:chgData name="Katerine Schifino" userId="37bb67de-9fcf-4611-888c-7e5b58184a2a" providerId="ADAL" clId="{2595FEE5-B46C-4A48-9139-4FD42CC6AB31}" dt="2022-03-25T17:52:31.259" v="6" actId="47"/>
        <pc:sldMkLst>
          <pc:docMk/>
          <pc:sldMk cId="2330264627" sldId="429"/>
        </pc:sldMkLst>
      </pc:sldChg>
      <pc:sldChg chg="del">
        <pc:chgData name="Katerine Schifino" userId="37bb67de-9fcf-4611-888c-7e5b58184a2a" providerId="ADAL" clId="{2595FEE5-B46C-4A48-9139-4FD42CC6AB31}" dt="2022-03-25T17:52:52.923" v="23" actId="47"/>
        <pc:sldMkLst>
          <pc:docMk/>
          <pc:sldMk cId="4072131230" sldId="2080108012"/>
        </pc:sldMkLst>
      </pc:sldChg>
      <pc:sldChg chg="del">
        <pc:chgData name="Katerine Schifino" userId="37bb67de-9fcf-4611-888c-7e5b58184a2a" providerId="ADAL" clId="{2595FEE5-B46C-4A48-9139-4FD42CC6AB31}" dt="2022-03-25T17:52:52.165" v="22" actId="47"/>
        <pc:sldMkLst>
          <pc:docMk/>
          <pc:sldMk cId="2005008481" sldId="2080108014"/>
        </pc:sldMkLst>
      </pc:sldChg>
      <pc:sldChg chg="del">
        <pc:chgData name="Katerine Schifino" userId="37bb67de-9fcf-4611-888c-7e5b58184a2a" providerId="ADAL" clId="{2595FEE5-B46C-4A48-9139-4FD42CC6AB31}" dt="2022-03-25T17:52:27.477" v="1" actId="47"/>
        <pc:sldMkLst>
          <pc:docMk/>
          <pc:sldMk cId="3366330402" sldId="2080108015"/>
        </pc:sldMkLst>
      </pc:sldChg>
      <pc:sldChg chg="addSp delSp modSp mod ord modNotesTx">
        <pc:chgData name="Katerine Schifino" userId="37bb67de-9fcf-4611-888c-7e5b58184a2a" providerId="ADAL" clId="{2595FEE5-B46C-4A48-9139-4FD42CC6AB31}" dt="2022-03-25T20:21:54.151" v="6133" actId="20577"/>
        <pc:sldMkLst>
          <pc:docMk/>
          <pc:sldMk cId="2367529978" sldId="2146846104"/>
        </pc:sldMkLst>
        <pc:spChg chg="del mod">
          <ac:chgData name="Katerine Schifino" userId="37bb67de-9fcf-4611-888c-7e5b58184a2a" providerId="ADAL" clId="{2595FEE5-B46C-4A48-9139-4FD42CC6AB31}" dt="2022-03-25T18:16:59.867" v="1866" actId="478"/>
          <ac:spMkLst>
            <pc:docMk/>
            <pc:sldMk cId="2367529978" sldId="2146846104"/>
            <ac:spMk id="3" creationId="{F37952A8-26A7-4620-BB6E-749B2F7FE437}"/>
          </ac:spMkLst>
        </pc:spChg>
        <pc:spChg chg="mod">
          <ac:chgData name="Katerine Schifino" userId="37bb67de-9fcf-4611-888c-7e5b58184a2a" providerId="ADAL" clId="{2595FEE5-B46C-4A48-9139-4FD42CC6AB31}" dt="2022-03-25T18:34:04.393" v="3204" actId="1037"/>
          <ac:spMkLst>
            <pc:docMk/>
            <pc:sldMk cId="2367529978" sldId="2146846104"/>
            <ac:spMk id="4" creationId="{CD3B507D-B343-498F-97D5-78CBF4589AAB}"/>
          </ac:spMkLst>
        </pc:spChg>
        <pc:spChg chg="add mod">
          <ac:chgData name="Katerine Schifino" userId="37bb67de-9fcf-4611-888c-7e5b58184a2a" providerId="ADAL" clId="{2595FEE5-B46C-4A48-9139-4FD42CC6AB31}" dt="2022-03-25T18:21:04.973" v="2350" actId="1076"/>
          <ac:spMkLst>
            <pc:docMk/>
            <pc:sldMk cId="2367529978" sldId="2146846104"/>
            <ac:spMk id="14" creationId="{9187CEAE-8ECA-42DC-B83E-D7E14A7FE3F0}"/>
          </ac:spMkLst>
        </pc:spChg>
        <pc:spChg chg="del mod">
          <ac:chgData name="Katerine Schifino" userId="37bb67de-9fcf-4611-888c-7e5b58184a2a" providerId="ADAL" clId="{2595FEE5-B46C-4A48-9139-4FD42CC6AB31}" dt="2022-03-25T18:16:59.867" v="1866" actId="478"/>
          <ac:spMkLst>
            <pc:docMk/>
            <pc:sldMk cId="2367529978" sldId="2146846104"/>
            <ac:spMk id="55" creationId="{693BE602-C9B4-412A-8447-FDCBB931768E}"/>
          </ac:spMkLst>
        </pc:spChg>
        <pc:spChg chg="add mod">
          <ac:chgData name="Katerine Schifino" userId="37bb67de-9fcf-4611-888c-7e5b58184a2a" providerId="ADAL" clId="{2595FEE5-B46C-4A48-9139-4FD42CC6AB31}" dt="2022-03-25T18:21:04.973" v="2350" actId="1076"/>
          <ac:spMkLst>
            <pc:docMk/>
            <pc:sldMk cId="2367529978" sldId="2146846104"/>
            <ac:spMk id="56" creationId="{8214B662-1AF3-4CC0-A536-D6A8FC01B193}"/>
          </ac:spMkLst>
        </pc:spChg>
        <pc:spChg chg="add mod">
          <ac:chgData name="Katerine Schifino" userId="37bb67de-9fcf-4611-888c-7e5b58184a2a" providerId="ADAL" clId="{2595FEE5-B46C-4A48-9139-4FD42CC6AB31}" dt="2022-03-25T18:21:04.973" v="2350" actId="1076"/>
          <ac:spMkLst>
            <pc:docMk/>
            <pc:sldMk cId="2367529978" sldId="2146846104"/>
            <ac:spMk id="64" creationId="{CC23A16D-77B6-4FA0-9EC3-2F02B8E9720E}"/>
          </ac:spMkLst>
        </pc:spChg>
        <pc:spChg chg="add mod">
          <ac:chgData name="Katerine Schifino" userId="37bb67de-9fcf-4611-888c-7e5b58184a2a" providerId="ADAL" clId="{2595FEE5-B46C-4A48-9139-4FD42CC6AB31}" dt="2022-03-25T18:21:04.973" v="2350" actId="1076"/>
          <ac:spMkLst>
            <pc:docMk/>
            <pc:sldMk cId="2367529978" sldId="2146846104"/>
            <ac:spMk id="65" creationId="{3D5F1061-E9CA-4D02-B600-56C772D9F61A}"/>
          </ac:spMkLst>
        </pc:spChg>
        <pc:spChg chg="add mod">
          <ac:chgData name="Katerine Schifino" userId="37bb67de-9fcf-4611-888c-7e5b58184a2a" providerId="ADAL" clId="{2595FEE5-B46C-4A48-9139-4FD42CC6AB31}" dt="2022-03-25T18:21:04.973" v="2350" actId="1076"/>
          <ac:spMkLst>
            <pc:docMk/>
            <pc:sldMk cId="2367529978" sldId="2146846104"/>
            <ac:spMk id="66" creationId="{FAE517C8-F6C0-486E-B028-3134D794D04A}"/>
          </ac:spMkLst>
        </pc:spChg>
        <pc:grpChg chg="mod">
          <ac:chgData name="Katerine Schifino" userId="37bb67de-9fcf-4611-888c-7e5b58184a2a" providerId="ADAL" clId="{2595FEE5-B46C-4A48-9139-4FD42CC6AB31}" dt="2022-03-25T18:21:04.973" v="2350" actId="1076"/>
          <ac:grpSpMkLst>
            <pc:docMk/>
            <pc:sldMk cId="2367529978" sldId="2146846104"/>
            <ac:grpSpMk id="6" creationId="{261DB4A7-4C07-46D7-916D-B61EDC194383}"/>
          </ac:grpSpMkLst>
        </pc:grpChg>
        <pc:grpChg chg="del mod">
          <ac:chgData name="Katerine Schifino" userId="37bb67de-9fcf-4611-888c-7e5b58184a2a" providerId="ADAL" clId="{2595FEE5-B46C-4A48-9139-4FD42CC6AB31}" dt="2022-03-25T18:16:59.867" v="1866" actId="478"/>
          <ac:grpSpMkLst>
            <pc:docMk/>
            <pc:sldMk cId="2367529978" sldId="2146846104"/>
            <ac:grpSpMk id="54" creationId="{C8CACEA6-0212-4EFD-B253-05AA389E4D94}"/>
          </ac:grpSpMkLst>
        </pc:grpChg>
      </pc:sldChg>
      <pc:sldChg chg="del">
        <pc:chgData name="Katerine Schifino" userId="37bb67de-9fcf-4611-888c-7e5b58184a2a" providerId="ADAL" clId="{2595FEE5-B46C-4A48-9139-4FD42CC6AB31}" dt="2022-03-25T17:52:34.002" v="9" actId="47"/>
        <pc:sldMkLst>
          <pc:docMk/>
          <pc:sldMk cId="1468592198" sldId="2146846105"/>
        </pc:sldMkLst>
      </pc:sldChg>
      <pc:sldChg chg="del">
        <pc:chgData name="Katerine Schifino" userId="37bb67de-9fcf-4611-888c-7e5b58184a2a" providerId="ADAL" clId="{2595FEE5-B46C-4A48-9139-4FD42CC6AB31}" dt="2022-03-25T17:52:39.842" v="14" actId="47"/>
        <pc:sldMkLst>
          <pc:docMk/>
          <pc:sldMk cId="180394613" sldId="2146846108"/>
        </pc:sldMkLst>
      </pc:sldChg>
      <pc:sldChg chg="del">
        <pc:chgData name="Katerine Schifino" userId="37bb67de-9fcf-4611-888c-7e5b58184a2a" providerId="ADAL" clId="{2595FEE5-B46C-4A48-9139-4FD42CC6AB31}" dt="2022-03-25T17:52:33.202" v="7" actId="47"/>
        <pc:sldMkLst>
          <pc:docMk/>
          <pc:sldMk cId="1307543664" sldId="2146846112"/>
        </pc:sldMkLst>
      </pc:sldChg>
      <pc:sldChg chg="del">
        <pc:chgData name="Katerine Schifino" userId="37bb67de-9fcf-4611-888c-7e5b58184a2a" providerId="ADAL" clId="{2595FEE5-B46C-4A48-9139-4FD42CC6AB31}" dt="2022-03-25T17:52:26.804" v="0" actId="47"/>
        <pc:sldMkLst>
          <pc:docMk/>
          <pc:sldMk cId="820559724" sldId="2146846115"/>
        </pc:sldMkLst>
      </pc:sldChg>
      <pc:sldChg chg="del">
        <pc:chgData name="Katerine Schifino" userId="37bb67de-9fcf-4611-888c-7e5b58184a2a" providerId="ADAL" clId="{2595FEE5-B46C-4A48-9139-4FD42CC6AB31}" dt="2022-03-25T17:52:29.800" v="4" actId="47"/>
        <pc:sldMkLst>
          <pc:docMk/>
          <pc:sldMk cId="1527030636" sldId="2146846123"/>
        </pc:sldMkLst>
      </pc:sldChg>
      <pc:sldChg chg="del">
        <pc:chgData name="Katerine Schifino" userId="37bb67de-9fcf-4611-888c-7e5b58184a2a" providerId="ADAL" clId="{2595FEE5-B46C-4A48-9139-4FD42CC6AB31}" dt="2022-03-25T17:52:43.562" v="18" actId="47"/>
        <pc:sldMkLst>
          <pc:docMk/>
          <pc:sldMk cId="911348781" sldId="2146846129"/>
        </pc:sldMkLst>
      </pc:sldChg>
      <pc:sldChg chg="del">
        <pc:chgData name="Katerine Schifino" userId="37bb67de-9fcf-4611-888c-7e5b58184a2a" providerId="ADAL" clId="{2595FEE5-B46C-4A48-9139-4FD42CC6AB31}" dt="2022-03-25T17:52:41.449" v="16" actId="47"/>
        <pc:sldMkLst>
          <pc:docMk/>
          <pc:sldMk cId="183289927" sldId="2146846131"/>
        </pc:sldMkLst>
      </pc:sldChg>
      <pc:sldChg chg="del">
        <pc:chgData name="Katerine Schifino" userId="37bb67de-9fcf-4611-888c-7e5b58184a2a" providerId="ADAL" clId="{2595FEE5-B46C-4A48-9139-4FD42CC6AB31}" dt="2022-03-25T17:52:33.491" v="8" actId="47"/>
        <pc:sldMkLst>
          <pc:docMk/>
          <pc:sldMk cId="2121835659" sldId="2146846132"/>
        </pc:sldMkLst>
      </pc:sldChg>
      <pc:sldChg chg="del">
        <pc:chgData name="Katerine Schifino" userId="37bb67de-9fcf-4611-888c-7e5b58184a2a" providerId="ADAL" clId="{2595FEE5-B46C-4A48-9139-4FD42CC6AB31}" dt="2022-03-25T17:52:29.098" v="3" actId="47"/>
        <pc:sldMkLst>
          <pc:docMk/>
          <pc:sldMk cId="126793636" sldId="2146846133"/>
        </pc:sldMkLst>
      </pc:sldChg>
      <pc:sldChg chg="del">
        <pc:chgData name="Katerine Schifino" userId="37bb67de-9fcf-4611-888c-7e5b58184a2a" providerId="ADAL" clId="{2595FEE5-B46C-4A48-9139-4FD42CC6AB31}" dt="2022-03-25T17:52:42.616" v="17" actId="47"/>
        <pc:sldMkLst>
          <pc:docMk/>
          <pc:sldMk cId="2897237463" sldId="2146846134"/>
        </pc:sldMkLst>
      </pc:sldChg>
      <pc:sldChg chg="addSp delSp modSp mod ord modNotesTx">
        <pc:chgData name="Katerine Schifino" userId="37bb67de-9fcf-4611-888c-7e5b58184a2a" providerId="ADAL" clId="{2595FEE5-B46C-4A48-9139-4FD42CC6AB31}" dt="2022-03-25T20:21:56.763" v="6134" actId="20577"/>
        <pc:sldMkLst>
          <pc:docMk/>
          <pc:sldMk cId="3424299804" sldId="2146846135"/>
        </pc:sldMkLst>
        <pc:spChg chg="add mod">
          <ac:chgData name="Katerine Schifino" userId="37bb67de-9fcf-4611-888c-7e5b58184a2a" providerId="ADAL" clId="{2595FEE5-B46C-4A48-9139-4FD42CC6AB31}" dt="2022-03-25T18:16:30.862" v="1841" actId="2711"/>
          <ac:spMkLst>
            <pc:docMk/>
            <pc:sldMk cId="3424299804" sldId="2146846135"/>
            <ac:spMk id="2" creationId="{3F6BB03A-9D90-4B2D-A0B2-C265AB00B4C1}"/>
          </ac:spMkLst>
        </pc:spChg>
        <pc:spChg chg="mod">
          <ac:chgData name="Katerine Schifino" userId="37bb67de-9fcf-4611-888c-7e5b58184a2a" providerId="ADAL" clId="{2595FEE5-B46C-4A48-9139-4FD42CC6AB31}" dt="2022-03-25T18:31:49.632" v="3156" actId="20577"/>
          <ac:spMkLst>
            <pc:docMk/>
            <pc:sldMk cId="3424299804" sldId="2146846135"/>
            <ac:spMk id="4" creationId="{CD3B507D-B343-498F-97D5-78CBF4589AAB}"/>
          </ac:spMkLst>
        </pc:spChg>
        <pc:spChg chg="add mod">
          <ac:chgData name="Katerine Schifino" userId="37bb67de-9fcf-4611-888c-7e5b58184a2a" providerId="ADAL" clId="{2595FEE5-B46C-4A48-9139-4FD42CC6AB31}" dt="2022-03-25T18:20:02.649" v="2333" actId="1076"/>
          <ac:spMkLst>
            <pc:docMk/>
            <pc:sldMk cId="3424299804" sldId="2146846135"/>
            <ac:spMk id="18" creationId="{4C4406A5-C00B-4FD4-B900-3DF7405E4240}"/>
          </ac:spMkLst>
        </pc:spChg>
        <pc:spChg chg="add mod">
          <ac:chgData name="Katerine Schifino" userId="37bb67de-9fcf-4611-888c-7e5b58184a2a" providerId="ADAL" clId="{2595FEE5-B46C-4A48-9139-4FD42CC6AB31}" dt="2022-03-25T18:20:11.451" v="2336" actId="1076"/>
          <ac:spMkLst>
            <pc:docMk/>
            <pc:sldMk cId="3424299804" sldId="2146846135"/>
            <ac:spMk id="19" creationId="{0ADDEE75-6ABC-4665-BA8C-6E9C49F01F2A}"/>
          </ac:spMkLst>
        </pc:spChg>
        <pc:spChg chg="add mod">
          <ac:chgData name="Katerine Schifino" userId="37bb67de-9fcf-4611-888c-7e5b58184a2a" providerId="ADAL" clId="{2595FEE5-B46C-4A48-9139-4FD42CC6AB31}" dt="2022-03-25T18:20:16.190" v="2338" actId="1076"/>
          <ac:spMkLst>
            <pc:docMk/>
            <pc:sldMk cId="3424299804" sldId="2146846135"/>
            <ac:spMk id="20" creationId="{D780F2E8-6370-46C5-8F64-DACAF21B65BB}"/>
          </ac:spMkLst>
        </pc:spChg>
        <pc:spChg chg="add mod">
          <ac:chgData name="Katerine Schifino" userId="37bb67de-9fcf-4611-888c-7e5b58184a2a" providerId="ADAL" clId="{2595FEE5-B46C-4A48-9139-4FD42CC6AB31}" dt="2022-03-25T18:20:19.907" v="2340" actId="1076"/>
          <ac:spMkLst>
            <pc:docMk/>
            <pc:sldMk cId="3424299804" sldId="2146846135"/>
            <ac:spMk id="21" creationId="{F145CD1F-2C2C-44B5-AD05-046A21800F11}"/>
          </ac:spMkLst>
        </pc:spChg>
        <pc:spChg chg="add mod">
          <ac:chgData name="Katerine Schifino" userId="37bb67de-9fcf-4611-888c-7e5b58184a2a" providerId="ADAL" clId="{2595FEE5-B46C-4A48-9139-4FD42CC6AB31}" dt="2022-03-25T18:20:33.070" v="2344" actId="20577"/>
          <ac:spMkLst>
            <pc:docMk/>
            <pc:sldMk cId="3424299804" sldId="2146846135"/>
            <ac:spMk id="22" creationId="{6F400DA5-9A01-4253-B563-3CC5E567F206}"/>
          </ac:spMkLst>
        </pc:spChg>
        <pc:spChg chg="add mod">
          <ac:chgData name="Katerine Schifino" userId="37bb67de-9fcf-4611-888c-7e5b58184a2a" providerId="ADAL" clId="{2595FEE5-B46C-4A48-9139-4FD42CC6AB31}" dt="2022-03-25T18:20:38.198" v="2346" actId="1076"/>
          <ac:spMkLst>
            <pc:docMk/>
            <pc:sldMk cId="3424299804" sldId="2146846135"/>
            <ac:spMk id="23" creationId="{01F1AC42-BC30-4C91-8933-CB5CABA305E7}"/>
          </ac:spMkLst>
        </pc:spChg>
        <pc:spChg chg="add mod">
          <ac:chgData name="Katerine Schifino" userId="37bb67de-9fcf-4611-888c-7e5b58184a2a" providerId="ADAL" clId="{2595FEE5-B46C-4A48-9139-4FD42CC6AB31}" dt="2022-03-25T18:20:52.882" v="2349" actId="1076"/>
          <ac:spMkLst>
            <pc:docMk/>
            <pc:sldMk cId="3424299804" sldId="2146846135"/>
            <ac:spMk id="24" creationId="{6D6F1EE0-E6F0-49E7-9071-7A6CA4538982}"/>
          </ac:spMkLst>
        </pc:spChg>
        <pc:spChg chg="mod">
          <ac:chgData name="Katerine Schifino" userId="37bb67de-9fcf-4611-888c-7e5b58184a2a" providerId="ADAL" clId="{2595FEE5-B46C-4A48-9139-4FD42CC6AB31}" dt="2022-03-25T18:20:42.132" v="2347" actId="14100"/>
          <ac:spMkLst>
            <pc:docMk/>
            <pc:sldMk cId="3424299804" sldId="2146846135"/>
            <ac:spMk id="29" creationId="{AC912CE1-71EF-4250-8EA0-0DDA67063F18}"/>
          </ac:spMkLst>
        </pc:spChg>
        <pc:spChg chg="mod">
          <ac:chgData name="Katerine Schifino" userId="37bb67de-9fcf-4611-888c-7e5b58184a2a" providerId="ADAL" clId="{2595FEE5-B46C-4A48-9139-4FD42CC6AB31}" dt="2022-03-25T18:16:38.322" v="1843" actId="1076"/>
          <ac:spMkLst>
            <pc:docMk/>
            <pc:sldMk cId="3424299804" sldId="2146846135"/>
            <ac:spMk id="56" creationId="{B46C1083-1642-4043-8CB4-E3CEDA2CFB1E}"/>
          </ac:spMkLst>
        </pc:spChg>
        <pc:spChg chg="mod">
          <ac:chgData name="Katerine Schifino" userId="37bb67de-9fcf-4611-888c-7e5b58184a2a" providerId="ADAL" clId="{2595FEE5-B46C-4A48-9139-4FD42CC6AB31}" dt="2022-03-25T18:15:35.799" v="1797" actId="20577"/>
          <ac:spMkLst>
            <pc:docMk/>
            <pc:sldMk cId="3424299804" sldId="2146846135"/>
            <ac:spMk id="64" creationId="{E2A1B381-8D93-4A35-BB90-6547B7AF5416}"/>
          </ac:spMkLst>
        </pc:spChg>
        <pc:spChg chg="mod">
          <ac:chgData name="Katerine Schifino" userId="37bb67de-9fcf-4611-888c-7e5b58184a2a" providerId="ADAL" clId="{2595FEE5-B46C-4A48-9139-4FD42CC6AB31}" dt="2022-03-25T18:15:28.171" v="1783" actId="6549"/>
          <ac:spMkLst>
            <pc:docMk/>
            <pc:sldMk cId="3424299804" sldId="2146846135"/>
            <ac:spMk id="65" creationId="{2D059A3F-9F75-4168-8707-F65A92010CB3}"/>
          </ac:spMkLst>
        </pc:spChg>
        <pc:spChg chg="mod">
          <ac:chgData name="Katerine Schifino" userId="37bb67de-9fcf-4611-888c-7e5b58184a2a" providerId="ADAL" clId="{2595FEE5-B46C-4A48-9139-4FD42CC6AB31}" dt="2022-03-25T18:15:38.430" v="1798" actId="20577"/>
          <ac:spMkLst>
            <pc:docMk/>
            <pc:sldMk cId="3424299804" sldId="2146846135"/>
            <ac:spMk id="66" creationId="{3DD6027A-F97B-4C13-8192-41677BFDC63C}"/>
          </ac:spMkLst>
        </pc:spChg>
        <pc:spChg chg="mod">
          <ac:chgData name="Katerine Schifino" userId="37bb67de-9fcf-4611-888c-7e5b58184a2a" providerId="ADAL" clId="{2595FEE5-B46C-4A48-9139-4FD42CC6AB31}" dt="2022-03-25T18:15:40.690" v="1799" actId="20577"/>
          <ac:spMkLst>
            <pc:docMk/>
            <pc:sldMk cId="3424299804" sldId="2146846135"/>
            <ac:spMk id="67" creationId="{E1A64BB7-1DB4-41FC-9EB1-B443634F2116}"/>
          </ac:spMkLst>
        </pc:spChg>
        <pc:spChg chg="mod">
          <ac:chgData name="Katerine Schifino" userId="37bb67de-9fcf-4611-888c-7e5b58184a2a" providerId="ADAL" clId="{2595FEE5-B46C-4A48-9139-4FD42CC6AB31}" dt="2022-03-25T18:15:42.464" v="1800" actId="20577"/>
          <ac:spMkLst>
            <pc:docMk/>
            <pc:sldMk cId="3424299804" sldId="2146846135"/>
            <ac:spMk id="68" creationId="{6BDF7D48-EAED-4B84-A1DC-098864858910}"/>
          </ac:spMkLst>
        </pc:spChg>
        <pc:graphicFrameChg chg="add mod modGraphic">
          <ac:chgData name="Katerine Schifino" userId="37bb67de-9fcf-4611-888c-7e5b58184a2a" providerId="ADAL" clId="{2595FEE5-B46C-4A48-9139-4FD42CC6AB31}" dt="2022-03-25T19:18:45.608" v="5963" actId="1076"/>
          <ac:graphicFrameMkLst>
            <pc:docMk/>
            <pc:sldMk cId="3424299804" sldId="2146846135"/>
            <ac:graphicFrameMk id="3" creationId="{A3094207-4D4A-47E7-B0D1-41F594FAD789}"/>
          </ac:graphicFrameMkLst>
        </pc:graphicFrameChg>
        <pc:picChg chg="del">
          <ac:chgData name="Katerine Schifino" userId="37bb67de-9fcf-4611-888c-7e5b58184a2a" providerId="ADAL" clId="{2595FEE5-B46C-4A48-9139-4FD42CC6AB31}" dt="2022-03-25T18:15:53.499" v="1822" actId="478"/>
          <ac:picMkLst>
            <pc:docMk/>
            <pc:sldMk cId="3424299804" sldId="2146846135"/>
            <ac:picMk id="28" creationId="{3293A6C5-7385-47C4-92CA-7B83DA47BCB5}"/>
          </ac:picMkLst>
        </pc:picChg>
        <pc:picChg chg="del">
          <ac:chgData name="Katerine Schifino" userId="37bb67de-9fcf-4611-888c-7e5b58184a2a" providerId="ADAL" clId="{2595FEE5-B46C-4A48-9139-4FD42CC6AB31}" dt="2022-03-25T18:16:34.922" v="1842" actId="478"/>
          <ac:picMkLst>
            <pc:docMk/>
            <pc:sldMk cId="3424299804" sldId="2146846135"/>
            <ac:picMk id="31" creationId="{8217D5D6-2F7E-454D-BCBA-E809FA460033}"/>
          </ac:picMkLst>
        </pc:picChg>
      </pc:sldChg>
      <pc:sldChg chg="addSp delSp modSp mod ord modNotesTx">
        <pc:chgData name="Katerine Schifino" userId="37bb67de-9fcf-4611-888c-7e5b58184a2a" providerId="ADAL" clId="{2595FEE5-B46C-4A48-9139-4FD42CC6AB31}" dt="2022-03-25T20:22:04.979" v="6137" actId="20577"/>
        <pc:sldMkLst>
          <pc:docMk/>
          <pc:sldMk cId="3576568090" sldId="2146846137"/>
        </pc:sldMkLst>
        <pc:spChg chg="mod">
          <ac:chgData name="Katerine Schifino" userId="37bb67de-9fcf-4611-888c-7e5b58184a2a" providerId="ADAL" clId="{2595FEE5-B46C-4A48-9139-4FD42CC6AB31}" dt="2022-03-25T17:54:20.795" v="40" actId="20577"/>
          <ac:spMkLst>
            <pc:docMk/>
            <pc:sldMk cId="3576568090" sldId="2146846137"/>
            <ac:spMk id="6" creationId="{C3E24BFF-A0DB-4ECE-96D3-5EAB937B7323}"/>
          </ac:spMkLst>
        </pc:spChg>
        <pc:spChg chg="del mod">
          <ac:chgData name="Katerine Schifino" userId="37bb67de-9fcf-4611-888c-7e5b58184a2a" providerId="ADAL" clId="{2595FEE5-B46C-4A48-9139-4FD42CC6AB31}" dt="2022-03-25T18:00:04.920" v="333" actId="478"/>
          <ac:spMkLst>
            <pc:docMk/>
            <pc:sldMk cId="3576568090" sldId="2146846137"/>
            <ac:spMk id="7" creationId="{9B3DE356-A217-4930-B091-FDA68F880392}"/>
          </ac:spMkLst>
        </pc:spChg>
        <pc:spChg chg="del mod">
          <ac:chgData name="Katerine Schifino" userId="37bb67de-9fcf-4611-888c-7e5b58184a2a" providerId="ADAL" clId="{2595FEE5-B46C-4A48-9139-4FD42CC6AB31}" dt="2022-03-25T18:00:01.433" v="332" actId="478"/>
          <ac:spMkLst>
            <pc:docMk/>
            <pc:sldMk cId="3576568090" sldId="2146846137"/>
            <ac:spMk id="8" creationId="{F3692B0D-82AC-41A6-A5BD-1A4B9AC9B985}"/>
          </ac:spMkLst>
        </pc:spChg>
        <pc:spChg chg="add mod">
          <ac:chgData name="Katerine Schifino" userId="37bb67de-9fcf-4611-888c-7e5b58184a2a" providerId="ADAL" clId="{2595FEE5-B46C-4A48-9139-4FD42CC6AB31}" dt="2022-03-25T18:03:40.907" v="788" actId="115"/>
          <ac:spMkLst>
            <pc:docMk/>
            <pc:sldMk cId="3576568090" sldId="2146846137"/>
            <ac:spMk id="9" creationId="{C46E46B2-8DA6-4180-BE6E-D6D94C9C18D5}"/>
          </ac:spMkLst>
        </pc:spChg>
        <pc:graphicFrameChg chg="add mod modGraphic">
          <ac:chgData name="Katerine Schifino" userId="37bb67de-9fcf-4611-888c-7e5b58184a2a" providerId="ADAL" clId="{2595FEE5-B46C-4A48-9139-4FD42CC6AB31}" dt="2022-03-25T18:41:41.839" v="4055" actId="1076"/>
          <ac:graphicFrameMkLst>
            <pc:docMk/>
            <pc:sldMk cId="3576568090" sldId="2146846137"/>
            <ac:graphicFrameMk id="2" creationId="{90C4ECCF-9B28-475A-8668-643F413BD5F2}"/>
          </ac:graphicFrameMkLst>
        </pc:graphicFrameChg>
        <pc:picChg chg="del mod">
          <ac:chgData name="Katerine Schifino" userId="37bb67de-9fcf-4611-888c-7e5b58184a2a" providerId="ADAL" clId="{2595FEE5-B46C-4A48-9139-4FD42CC6AB31}" dt="2022-03-25T18:00:04.920" v="333" actId="478"/>
          <ac:picMkLst>
            <pc:docMk/>
            <pc:sldMk cId="3576568090" sldId="2146846137"/>
            <ac:picMk id="5126" creationId="{895C0EEB-02B6-450D-A21B-41CA55BD36FB}"/>
          </ac:picMkLst>
        </pc:picChg>
      </pc:sldChg>
      <pc:sldChg chg="add del">
        <pc:chgData name="Katerine Schifino" userId="37bb67de-9fcf-4611-888c-7e5b58184a2a" providerId="ADAL" clId="{2595FEE5-B46C-4A48-9139-4FD42CC6AB31}" dt="2022-03-25T17:52:38.336" v="12" actId="47"/>
        <pc:sldMkLst>
          <pc:docMk/>
          <pc:sldMk cId="1726142947" sldId="2146846138"/>
        </pc:sldMkLst>
      </pc:sldChg>
      <pc:sldChg chg="addSp delSp modSp add mod ord modNotesTx">
        <pc:chgData name="Katerine Schifino" userId="37bb67de-9fcf-4611-888c-7e5b58184a2a" providerId="ADAL" clId="{2595FEE5-B46C-4A48-9139-4FD42CC6AB31}" dt="2022-03-25T20:21:52.019" v="6132" actId="20577"/>
        <pc:sldMkLst>
          <pc:docMk/>
          <pc:sldMk cId="2729674122" sldId="2146846138"/>
        </pc:sldMkLst>
        <pc:spChg chg="del mod">
          <ac:chgData name="Katerine Schifino" userId="37bb67de-9fcf-4611-888c-7e5b58184a2a" providerId="ADAL" clId="{2595FEE5-B46C-4A48-9139-4FD42CC6AB31}" dt="2022-03-25T19:08:13.843" v="5039" actId="478"/>
          <ac:spMkLst>
            <pc:docMk/>
            <pc:sldMk cId="2729674122" sldId="2146846138"/>
            <ac:spMk id="6" creationId="{C3E24BFF-A0DB-4ECE-96D3-5EAB937B7323}"/>
          </ac:spMkLst>
        </pc:spChg>
        <pc:spChg chg="del">
          <ac:chgData name="Katerine Schifino" userId="37bb67de-9fcf-4611-888c-7e5b58184a2a" providerId="ADAL" clId="{2595FEE5-B46C-4A48-9139-4FD42CC6AB31}" dt="2022-03-25T18:35:30.078" v="3347" actId="478"/>
          <ac:spMkLst>
            <pc:docMk/>
            <pc:sldMk cId="2729674122" sldId="2146846138"/>
            <ac:spMk id="7" creationId="{9B3DE356-A217-4930-B091-FDA68F880392}"/>
          </ac:spMkLst>
        </pc:spChg>
        <pc:spChg chg="mod">
          <ac:chgData name="Katerine Schifino" userId="37bb67de-9fcf-4611-888c-7e5b58184a2a" providerId="ADAL" clId="{2595FEE5-B46C-4A48-9139-4FD42CC6AB31}" dt="2022-03-25T19:08:16.831" v="5041" actId="1076"/>
          <ac:spMkLst>
            <pc:docMk/>
            <pc:sldMk cId="2729674122" sldId="2146846138"/>
            <ac:spMk id="8" creationId="{F3692B0D-82AC-41A6-A5BD-1A4B9AC9B985}"/>
          </ac:spMkLst>
        </pc:spChg>
        <pc:spChg chg="add mod">
          <ac:chgData name="Katerine Schifino" userId="37bb67de-9fcf-4611-888c-7e5b58184a2a" providerId="ADAL" clId="{2595FEE5-B46C-4A48-9139-4FD42CC6AB31}" dt="2022-03-25T19:08:14.353" v="5040"/>
          <ac:spMkLst>
            <pc:docMk/>
            <pc:sldMk cId="2729674122" sldId="2146846138"/>
            <ac:spMk id="9" creationId="{CE4A2C1A-0104-420F-86F4-4F0E52E284BB}"/>
          </ac:spMkLst>
        </pc:spChg>
        <pc:picChg chg="del mod">
          <ac:chgData name="Katerine Schifino" userId="37bb67de-9fcf-4611-888c-7e5b58184a2a" providerId="ADAL" clId="{2595FEE5-B46C-4A48-9139-4FD42CC6AB31}" dt="2022-03-25T18:37:15.780" v="3624" actId="478"/>
          <ac:picMkLst>
            <pc:docMk/>
            <pc:sldMk cId="2729674122" sldId="2146846138"/>
            <ac:picMk id="5126" creationId="{895C0EEB-02B6-450D-A21B-41CA55BD36FB}"/>
          </ac:picMkLst>
        </pc:picChg>
      </pc:sldChg>
      <pc:sldChg chg="del">
        <pc:chgData name="Katerine Schifino" userId="37bb67de-9fcf-4611-888c-7e5b58184a2a" providerId="ADAL" clId="{2595FEE5-B46C-4A48-9139-4FD42CC6AB31}" dt="2022-03-25T17:52:28.146" v="2" actId="47"/>
        <pc:sldMkLst>
          <pc:docMk/>
          <pc:sldMk cId="829897845" sldId="2146846139"/>
        </pc:sldMkLst>
      </pc:sldChg>
      <pc:sldChg chg="addSp delSp modSp add mod modNotesTx">
        <pc:chgData name="Katerine Schifino" userId="37bb67de-9fcf-4611-888c-7e5b58184a2a" providerId="ADAL" clId="{2595FEE5-B46C-4A48-9139-4FD42CC6AB31}" dt="2022-03-25T20:22:02.742" v="6136" actId="20577"/>
        <pc:sldMkLst>
          <pc:docMk/>
          <pc:sldMk cId="3308792200" sldId="2146846139"/>
        </pc:sldMkLst>
        <pc:spChg chg="add mod">
          <ac:chgData name="Katerine Schifino" userId="37bb67de-9fcf-4611-888c-7e5b58184a2a" providerId="ADAL" clId="{2595FEE5-B46C-4A48-9139-4FD42CC6AB31}" dt="2022-03-25T18:14:09.088" v="1600" actId="1076"/>
          <ac:spMkLst>
            <pc:docMk/>
            <pc:sldMk cId="3308792200" sldId="2146846139"/>
            <ac:spMk id="5" creationId="{A807FA6B-29BF-428C-875A-43AB91CF3674}"/>
          </ac:spMkLst>
        </pc:spChg>
        <pc:spChg chg="mod">
          <ac:chgData name="Katerine Schifino" userId="37bb67de-9fcf-4611-888c-7e5b58184a2a" providerId="ADAL" clId="{2595FEE5-B46C-4A48-9139-4FD42CC6AB31}" dt="2022-03-25T18:08:29.414" v="1121" actId="1076"/>
          <ac:spMkLst>
            <pc:docMk/>
            <pc:sldMk cId="3308792200" sldId="2146846139"/>
            <ac:spMk id="6" creationId="{C3E24BFF-A0DB-4ECE-96D3-5EAB937B7323}"/>
          </ac:spMkLst>
        </pc:spChg>
        <pc:spChg chg="mod">
          <ac:chgData name="Katerine Schifino" userId="37bb67de-9fcf-4611-888c-7e5b58184a2a" providerId="ADAL" clId="{2595FEE5-B46C-4A48-9139-4FD42CC6AB31}" dt="2022-03-25T18:09:10.228" v="1129" actId="552"/>
          <ac:spMkLst>
            <pc:docMk/>
            <pc:sldMk cId="3308792200" sldId="2146846139"/>
            <ac:spMk id="9" creationId="{C46E46B2-8DA6-4180-BE6E-D6D94C9C18D5}"/>
          </ac:spMkLst>
        </pc:spChg>
        <pc:spChg chg="add mod">
          <ac:chgData name="Katerine Schifino" userId="37bb67de-9fcf-4611-888c-7e5b58184a2a" providerId="ADAL" clId="{2595FEE5-B46C-4A48-9139-4FD42CC6AB31}" dt="2022-03-25T18:13:59.988" v="1599" actId="20577"/>
          <ac:spMkLst>
            <pc:docMk/>
            <pc:sldMk cId="3308792200" sldId="2146846139"/>
            <ac:spMk id="10" creationId="{BD334509-8071-4DDA-8AA5-4A11F7D38E21}"/>
          </ac:spMkLst>
        </pc:spChg>
        <pc:graphicFrameChg chg="del">
          <ac:chgData name="Katerine Schifino" userId="37bb67de-9fcf-4611-888c-7e5b58184a2a" providerId="ADAL" clId="{2595FEE5-B46C-4A48-9139-4FD42CC6AB31}" dt="2022-03-25T18:04:13.694" v="803" actId="478"/>
          <ac:graphicFrameMkLst>
            <pc:docMk/>
            <pc:sldMk cId="3308792200" sldId="2146846139"/>
            <ac:graphicFrameMk id="2" creationId="{90C4ECCF-9B28-475A-8668-643F413BD5F2}"/>
          </ac:graphicFrameMkLst>
        </pc:graphicFrameChg>
        <pc:graphicFrameChg chg="add mod modGraphic">
          <ac:chgData name="Katerine Schifino" userId="37bb67de-9fcf-4611-888c-7e5b58184a2a" providerId="ADAL" clId="{2595FEE5-B46C-4A48-9139-4FD42CC6AB31}" dt="2022-03-25T18:14:09.088" v="1600" actId="1076"/>
          <ac:graphicFrameMkLst>
            <pc:docMk/>
            <pc:sldMk cId="3308792200" sldId="2146846139"/>
            <ac:graphicFrameMk id="7" creationId="{C9AC83A0-A20D-4A6B-8729-5097ABD46F34}"/>
          </ac:graphicFrameMkLst>
        </pc:graphicFrameChg>
        <pc:picChg chg="add mod">
          <ac:chgData name="Katerine Schifino" userId="37bb67de-9fcf-4611-888c-7e5b58184a2a" providerId="ADAL" clId="{2595FEE5-B46C-4A48-9139-4FD42CC6AB31}" dt="2022-03-25T18:14:09.088" v="1600" actId="1076"/>
          <ac:picMkLst>
            <pc:docMk/>
            <pc:sldMk cId="3308792200" sldId="2146846139"/>
            <ac:picMk id="8" creationId="{75EB8263-EF49-4F0B-A650-51E58D99C9DD}"/>
          </ac:picMkLst>
        </pc:picChg>
      </pc:sldChg>
      <pc:sldChg chg="addSp delSp modSp add mod modNotesTx">
        <pc:chgData name="Katerine Schifino" userId="37bb67de-9fcf-4611-888c-7e5b58184a2a" providerId="ADAL" clId="{2595FEE5-B46C-4A48-9139-4FD42CC6AB31}" dt="2022-03-25T20:21:59.653" v="6135" actId="20577"/>
        <pc:sldMkLst>
          <pc:docMk/>
          <pc:sldMk cId="2318814632" sldId="2146846140"/>
        </pc:sldMkLst>
        <pc:spChg chg="add mod">
          <ac:chgData name="Katerine Schifino" userId="37bb67de-9fcf-4611-888c-7e5b58184a2a" providerId="ADAL" clId="{2595FEE5-B46C-4A48-9139-4FD42CC6AB31}" dt="2022-03-25T18:31:05.220" v="3145" actId="14100"/>
          <ac:spMkLst>
            <pc:docMk/>
            <pc:sldMk cId="2318814632" sldId="2146846140"/>
            <ac:spMk id="2" creationId="{68EA5FB2-E061-4F05-8F80-5F71CF64B337}"/>
          </ac:spMkLst>
        </pc:spChg>
        <pc:spChg chg="del">
          <ac:chgData name="Katerine Schifino" userId="37bb67de-9fcf-4611-888c-7e5b58184a2a" providerId="ADAL" clId="{2595FEE5-B46C-4A48-9139-4FD42CC6AB31}" dt="2022-03-25T18:14:23.008" v="1602" actId="478"/>
          <ac:spMkLst>
            <pc:docMk/>
            <pc:sldMk cId="2318814632" sldId="2146846140"/>
            <ac:spMk id="5" creationId="{A807FA6B-29BF-428C-875A-43AB91CF3674}"/>
          </ac:spMkLst>
        </pc:spChg>
        <pc:spChg chg="del mod">
          <ac:chgData name="Katerine Schifino" userId="37bb67de-9fcf-4611-888c-7e5b58184a2a" providerId="ADAL" clId="{2595FEE5-B46C-4A48-9139-4FD42CC6AB31}" dt="2022-03-25T18:14:39.273" v="1647"/>
          <ac:spMkLst>
            <pc:docMk/>
            <pc:sldMk cId="2318814632" sldId="2146846140"/>
            <ac:spMk id="9" creationId="{C46E46B2-8DA6-4180-BE6E-D6D94C9C18D5}"/>
          </ac:spMkLst>
        </pc:spChg>
        <pc:spChg chg="del mod">
          <ac:chgData name="Katerine Schifino" userId="37bb67de-9fcf-4611-888c-7e5b58184a2a" providerId="ADAL" clId="{2595FEE5-B46C-4A48-9139-4FD42CC6AB31}" dt="2022-03-25T18:14:28.131" v="1604" actId="478"/>
          <ac:spMkLst>
            <pc:docMk/>
            <pc:sldMk cId="2318814632" sldId="2146846140"/>
            <ac:spMk id="10" creationId="{BD334509-8071-4DDA-8AA5-4A11F7D38E21}"/>
          </ac:spMkLst>
        </pc:spChg>
        <pc:spChg chg="add mod">
          <ac:chgData name="Katerine Schifino" userId="37bb67de-9fcf-4611-888c-7e5b58184a2a" providerId="ADAL" clId="{2595FEE5-B46C-4A48-9139-4FD42CC6AB31}" dt="2022-03-25T18:32:15" v="3202" actId="113"/>
          <ac:spMkLst>
            <pc:docMk/>
            <pc:sldMk cId="2318814632" sldId="2146846140"/>
            <ac:spMk id="11" creationId="{4E24824E-F86D-4BF1-A73F-457CD5F4A18D}"/>
          </ac:spMkLst>
        </pc:spChg>
        <pc:spChg chg="add mod">
          <ac:chgData name="Katerine Schifino" userId="37bb67de-9fcf-4611-888c-7e5b58184a2a" providerId="ADAL" clId="{2595FEE5-B46C-4A48-9139-4FD42CC6AB31}" dt="2022-03-25T18:19:45.259" v="2324" actId="1076"/>
          <ac:spMkLst>
            <pc:docMk/>
            <pc:sldMk cId="2318814632" sldId="2146846140"/>
            <ac:spMk id="12" creationId="{CFF70544-672F-42EA-B13B-30140B1916E6}"/>
          </ac:spMkLst>
        </pc:spChg>
        <pc:graphicFrameChg chg="del">
          <ac:chgData name="Katerine Schifino" userId="37bb67de-9fcf-4611-888c-7e5b58184a2a" providerId="ADAL" clId="{2595FEE5-B46C-4A48-9139-4FD42CC6AB31}" dt="2022-03-25T18:14:23.008" v="1602" actId="478"/>
          <ac:graphicFrameMkLst>
            <pc:docMk/>
            <pc:sldMk cId="2318814632" sldId="2146846140"/>
            <ac:graphicFrameMk id="7" creationId="{C9AC83A0-A20D-4A6B-8729-5097ABD46F34}"/>
          </ac:graphicFrameMkLst>
        </pc:graphicFrameChg>
        <pc:picChg chg="add mod">
          <ac:chgData name="Katerine Schifino" userId="37bb67de-9fcf-4611-888c-7e5b58184a2a" providerId="ADAL" clId="{2595FEE5-B46C-4A48-9139-4FD42CC6AB31}" dt="2022-03-25T18:31:06.872" v="3146" actId="1076"/>
          <ac:picMkLst>
            <pc:docMk/>
            <pc:sldMk cId="2318814632" sldId="2146846140"/>
            <ac:picMk id="4" creationId="{FE185935-83F9-42E2-BE95-6DF020A0FF0E}"/>
          </ac:picMkLst>
        </pc:picChg>
        <pc:picChg chg="del">
          <ac:chgData name="Katerine Schifino" userId="37bb67de-9fcf-4611-888c-7e5b58184a2a" providerId="ADAL" clId="{2595FEE5-B46C-4A48-9139-4FD42CC6AB31}" dt="2022-03-25T18:14:23.008" v="1602" actId="478"/>
          <ac:picMkLst>
            <pc:docMk/>
            <pc:sldMk cId="2318814632" sldId="2146846140"/>
            <ac:picMk id="8" creationId="{75EB8263-EF49-4F0B-A650-51E58D99C9DD}"/>
          </ac:picMkLst>
        </pc:picChg>
      </pc:sldChg>
      <pc:sldChg chg="del">
        <pc:chgData name="Katerine Schifino" userId="37bb67de-9fcf-4611-888c-7e5b58184a2a" providerId="ADAL" clId="{2595FEE5-B46C-4A48-9139-4FD42CC6AB31}" dt="2022-03-25T17:52:30.760" v="5" actId="47"/>
        <pc:sldMkLst>
          <pc:docMk/>
          <pc:sldMk cId="3798208685" sldId="2146846140"/>
        </pc:sldMkLst>
      </pc:sldChg>
      <pc:sldChg chg="del">
        <pc:chgData name="Katerine Schifino" userId="37bb67de-9fcf-4611-888c-7e5b58184a2a" providerId="ADAL" clId="{2595FEE5-B46C-4A48-9139-4FD42CC6AB31}" dt="2022-03-25T17:52:39.305" v="13" actId="47"/>
        <pc:sldMkLst>
          <pc:docMk/>
          <pc:sldMk cId="1563887758" sldId="2146846141"/>
        </pc:sldMkLst>
      </pc:sldChg>
      <pc:sldChg chg="addSp delSp modSp add mod modNotesTx">
        <pc:chgData name="Katerine Schifino" userId="37bb67de-9fcf-4611-888c-7e5b58184a2a" providerId="ADAL" clId="{2595FEE5-B46C-4A48-9139-4FD42CC6AB31}" dt="2022-03-25T20:21:49.933" v="6131" actId="20577"/>
        <pc:sldMkLst>
          <pc:docMk/>
          <pc:sldMk cId="3494044939" sldId="2146846141"/>
        </pc:sldMkLst>
        <pc:spChg chg="del">
          <ac:chgData name="Katerine Schifino" userId="37bb67de-9fcf-4611-888c-7e5b58184a2a" providerId="ADAL" clId="{2595FEE5-B46C-4A48-9139-4FD42CC6AB31}" dt="2022-03-25T18:35:01.130" v="3340" actId="478"/>
          <ac:spMkLst>
            <pc:docMk/>
            <pc:sldMk cId="3494044939" sldId="2146846141"/>
            <ac:spMk id="2" creationId="{68EA5FB2-E061-4F05-8F80-5F71CF64B337}"/>
          </ac:spMkLst>
        </pc:spChg>
        <pc:spChg chg="mod">
          <ac:chgData name="Katerine Schifino" userId="37bb67de-9fcf-4611-888c-7e5b58184a2a" providerId="ADAL" clId="{2595FEE5-B46C-4A48-9139-4FD42CC6AB31}" dt="2022-03-25T18:42:18.553" v="4078" actId="20577"/>
          <ac:spMkLst>
            <pc:docMk/>
            <pc:sldMk cId="3494044939" sldId="2146846141"/>
            <ac:spMk id="6" creationId="{C3E24BFF-A0DB-4ECE-96D3-5EAB937B7323}"/>
          </ac:spMkLst>
        </pc:spChg>
        <pc:spChg chg="add mod">
          <ac:chgData name="Katerine Schifino" userId="37bb67de-9fcf-4611-888c-7e5b58184a2a" providerId="ADAL" clId="{2595FEE5-B46C-4A48-9139-4FD42CC6AB31}" dt="2022-03-25T19:04:46.457" v="4694" actId="20577"/>
          <ac:spMkLst>
            <pc:docMk/>
            <pc:sldMk cId="3494044939" sldId="2146846141"/>
            <ac:spMk id="10" creationId="{11F68A45-4F33-493E-930F-2B9C2E4FDB2F}"/>
          </ac:spMkLst>
        </pc:spChg>
        <pc:spChg chg="mod">
          <ac:chgData name="Katerine Schifino" userId="37bb67de-9fcf-4611-888c-7e5b58184a2a" providerId="ADAL" clId="{2595FEE5-B46C-4A48-9139-4FD42CC6AB31}" dt="2022-03-25T19:03:08.068" v="4512" actId="13926"/>
          <ac:spMkLst>
            <pc:docMk/>
            <pc:sldMk cId="3494044939" sldId="2146846141"/>
            <ac:spMk id="11" creationId="{4E24824E-F86D-4BF1-A73F-457CD5F4A18D}"/>
          </ac:spMkLst>
        </pc:spChg>
        <pc:spChg chg="del">
          <ac:chgData name="Katerine Schifino" userId="37bb67de-9fcf-4611-888c-7e5b58184a2a" providerId="ADAL" clId="{2595FEE5-B46C-4A48-9139-4FD42CC6AB31}" dt="2022-03-25T18:34:59.099" v="3339" actId="478"/>
          <ac:spMkLst>
            <pc:docMk/>
            <pc:sldMk cId="3494044939" sldId="2146846141"/>
            <ac:spMk id="12" creationId="{CFF70544-672F-42EA-B13B-30140B1916E6}"/>
          </ac:spMkLst>
        </pc:spChg>
        <pc:spChg chg="add mod">
          <ac:chgData name="Katerine Schifino" userId="37bb67de-9fcf-4611-888c-7e5b58184a2a" providerId="ADAL" clId="{2595FEE5-B46C-4A48-9139-4FD42CC6AB31}" dt="2022-03-25T19:02:45.495" v="4509" actId="164"/>
          <ac:spMkLst>
            <pc:docMk/>
            <pc:sldMk cId="3494044939" sldId="2146846141"/>
            <ac:spMk id="14" creationId="{74272CE6-B3F4-4F41-96D6-57086329087A}"/>
          </ac:spMkLst>
        </pc:spChg>
        <pc:spChg chg="add mod">
          <ac:chgData name="Katerine Schifino" userId="37bb67de-9fcf-4611-888c-7e5b58184a2a" providerId="ADAL" clId="{2595FEE5-B46C-4A48-9139-4FD42CC6AB31}" dt="2022-03-25T19:02:45.495" v="4509" actId="164"/>
          <ac:spMkLst>
            <pc:docMk/>
            <pc:sldMk cId="3494044939" sldId="2146846141"/>
            <ac:spMk id="15" creationId="{6C0EACEB-9EF2-4666-A737-BC52BAD95CB1}"/>
          </ac:spMkLst>
        </pc:spChg>
        <pc:spChg chg="add mod">
          <ac:chgData name="Katerine Schifino" userId="37bb67de-9fcf-4611-888c-7e5b58184a2a" providerId="ADAL" clId="{2595FEE5-B46C-4A48-9139-4FD42CC6AB31}" dt="2022-03-25T19:07:57.442" v="5038" actId="1076"/>
          <ac:spMkLst>
            <pc:docMk/>
            <pc:sldMk cId="3494044939" sldId="2146846141"/>
            <ac:spMk id="16" creationId="{0363F5E5-3982-41A4-BC17-54B86909FA7E}"/>
          </ac:spMkLst>
        </pc:spChg>
        <pc:grpChg chg="add mod">
          <ac:chgData name="Katerine Schifino" userId="37bb67de-9fcf-4611-888c-7e5b58184a2a" providerId="ADAL" clId="{2595FEE5-B46C-4A48-9139-4FD42CC6AB31}" dt="2022-03-25T19:04:42.499" v="4693" actId="1076"/>
          <ac:grpSpMkLst>
            <pc:docMk/>
            <pc:sldMk cId="3494044939" sldId="2146846141"/>
            <ac:grpSpMk id="8" creationId="{6BA275C3-9BFC-4181-98E8-C896A8C8A69D}"/>
          </ac:grpSpMkLst>
        </pc:grpChg>
        <pc:picChg chg="del">
          <ac:chgData name="Katerine Schifino" userId="37bb67de-9fcf-4611-888c-7e5b58184a2a" providerId="ADAL" clId="{2595FEE5-B46C-4A48-9139-4FD42CC6AB31}" dt="2022-03-25T18:35:01.130" v="3340" actId="478"/>
          <ac:picMkLst>
            <pc:docMk/>
            <pc:sldMk cId="3494044939" sldId="2146846141"/>
            <ac:picMk id="4" creationId="{FE185935-83F9-42E2-BE95-6DF020A0FF0E}"/>
          </ac:picMkLst>
        </pc:picChg>
        <pc:picChg chg="add mod">
          <ac:chgData name="Katerine Schifino" userId="37bb67de-9fcf-4611-888c-7e5b58184a2a" providerId="ADAL" clId="{2595FEE5-B46C-4A48-9139-4FD42CC6AB31}" dt="2022-03-25T19:02:45.495" v="4509" actId="164"/>
          <ac:picMkLst>
            <pc:docMk/>
            <pc:sldMk cId="3494044939" sldId="2146846141"/>
            <ac:picMk id="5" creationId="{D8584571-045A-4EF6-912C-2F02A7C91F65}"/>
          </ac:picMkLst>
        </pc:picChg>
        <pc:picChg chg="add del mod">
          <ac:chgData name="Katerine Schifino" userId="37bb67de-9fcf-4611-888c-7e5b58184a2a" providerId="ADAL" clId="{2595FEE5-B46C-4A48-9139-4FD42CC6AB31}" dt="2022-03-25T19:02:10.783" v="4496" actId="478"/>
          <ac:picMkLst>
            <pc:docMk/>
            <pc:sldMk cId="3494044939" sldId="2146846141"/>
            <ac:picMk id="13" creationId="{3B647DE0-E7D1-46D1-B025-C221E4FD4304}"/>
          </ac:picMkLst>
        </pc:picChg>
      </pc:sldChg>
      <pc:sldChg chg="del">
        <pc:chgData name="Katerine Schifino" userId="37bb67de-9fcf-4611-888c-7e5b58184a2a" providerId="ADAL" clId="{2595FEE5-B46C-4A48-9139-4FD42CC6AB31}" dt="2022-03-25T17:52:44.231" v="19" actId="47"/>
        <pc:sldMkLst>
          <pc:docMk/>
          <pc:sldMk cId="2686842604" sldId="2146846142"/>
        </pc:sldMkLst>
      </pc:sldChg>
      <pc:sldChg chg="addSp delSp modSp add mod modNotesTx">
        <pc:chgData name="Katerine Schifino" userId="37bb67de-9fcf-4611-888c-7e5b58184a2a" providerId="ADAL" clId="{2595FEE5-B46C-4A48-9139-4FD42CC6AB31}" dt="2022-03-25T20:21:47.881" v="6130" actId="20577"/>
        <pc:sldMkLst>
          <pc:docMk/>
          <pc:sldMk cId="4215550961" sldId="2146846142"/>
        </pc:sldMkLst>
        <pc:spChg chg="del mod">
          <ac:chgData name="Katerine Schifino" userId="37bb67de-9fcf-4611-888c-7e5b58184a2a" providerId="ADAL" clId="{2595FEE5-B46C-4A48-9139-4FD42CC6AB31}" dt="2022-03-25T19:08:46.431" v="5045" actId="478"/>
          <ac:spMkLst>
            <pc:docMk/>
            <pc:sldMk cId="4215550961" sldId="2146846142"/>
            <ac:spMk id="6" creationId="{C3E24BFF-A0DB-4ECE-96D3-5EAB937B7323}"/>
          </ac:spMkLst>
        </pc:spChg>
        <pc:spChg chg="del">
          <ac:chgData name="Katerine Schifino" userId="37bb67de-9fcf-4611-888c-7e5b58184a2a" providerId="ADAL" clId="{2595FEE5-B46C-4A48-9139-4FD42CC6AB31}" dt="2022-03-25T19:08:38.498" v="5043" actId="478"/>
          <ac:spMkLst>
            <pc:docMk/>
            <pc:sldMk cId="4215550961" sldId="2146846142"/>
            <ac:spMk id="10" creationId="{11F68A45-4F33-493E-930F-2B9C2E4FDB2F}"/>
          </ac:spMkLst>
        </pc:spChg>
        <pc:spChg chg="del">
          <ac:chgData name="Katerine Schifino" userId="37bb67de-9fcf-4611-888c-7e5b58184a2a" providerId="ADAL" clId="{2595FEE5-B46C-4A48-9139-4FD42CC6AB31}" dt="2022-03-25T19:08:49.780" v="5046" actId="478"/>
          <ac:spMkLst>
            <pc:docMk/>
            <pc:sldMk cId="4215550961" sldId="2146846142"/>
            <ac:spMk id="11" creationId="{4E24824E-F86D-4BF1-A73F-457CD5F4A18D}"/>
          </ac:spMkLst>
        </pc:spChg>
        <pc:spChg chg="del">
          <ac:chgData name="Katerine Schifino" userId="37bb67de-9fcf-4611-888c-7e5b58184a2a" providerId="ADAL" clId="{2595FEE5-B46C-4A48-9139-4FD42CC6AB31}" dt="2022-03-25T19:08:38.498" v="5043" actId="478"/>
          <ac:spMkLst>
            <pc:docMk/>
            <pc:sldMk cId="4215550961" sldId="2146846142"/>
            <ac:spMk id="16" creationId="{0363F5E5-3982-41A4-BC17-54B86909FA7E}"/>
          </ac:spMkLst>
        </pc:spChg>
        <pc:grpChg chg="del">
          <ac:chgData name="Katerine Schifino" userId="37bb67de-9fcf-4611-888c-7e5b58184a2a" providerId="ADAL" clId="{2595FEE5-B46C-4A48-9139-4FD42CC6AB31}" dt="2022-03-25T19:08:38.498" v="5043" actId="478"/>
          <ac:grpSpMkLst>
            <pc:docMk/>
            <pc:sldMk cId="4215550961" sldId="2146846142"/>
            <ac:grpSpMk id="8" creationId="{6BA275C3-9BFC-4181-98E8-C896A8C8A69D}"/>
          </ac:grpSpMkLst>
        </pc:grpChg>
        <pc:graphicFrameChg chg="add mod modGraphic">
          <ac:chgData name="Katerine Schifino" userId="37bb67de-9fcf-4611-888c-7e5b58184a2a" providerId="ADAL" clId="{2595FEE5-B46C-4A48-9139-4FD42CC6AB31}" dt="2022-03-25T20:21:41.891" v="6129" actId="6549"/>
          <ac:graphicFrameMkLst>
            <pc:docMk/>
            <pc:sldMk cId="4215550961" sldId="2146846142"/>
            <ac:graphicFrameMk id="12" creationId="{2D8E720F-6750-4EC4-A661-2F27B7876BBF}"/>
          </ac:graphicFrameMkLst>
        </pc:graphicFrameChg>
      </pc:sldChg>
    </pc:docChg>
  </pc:docChgLst>
  <pc:docChgLst>
    <pc:chgData name="Stacy Unongo" userId="c539233b-2f8d-4ba7-9131-54d319c95f15" providerId="ADAL" clId="{885C8BE2-FB64-46AF-9AD9-81EABAEB6D1C}"/>
    <pc:docChg chg="undo custSel modSld">
      <pc:chgData name="Stacy Unongo" userId="c539233b-2f8d-4ba7-9131-54d319c95f15" providerId="ADAL" clId="{885C8BE2-FB64-46AF-9AD9-81EABAEB6D1C}" dt="2022-03-28T20:33:55.776" v="936" actId="12788"/>
      <pc:docMkLst>
        <pc:docMk/>
      </pc:docMkLst>
      <pc:sldChg chg="modSp mod">
        <pc:chgData name="Stacy Unongo" userId="c539233b-2f8d-4ba7-9131-54d319c95f15" providerId="ADAL" clId="{885C8BE2-FB64-46AF-9AD9-81EABAEB6D1C}" dt="2022-03-28T20:25:30.798" v="879" actId="20577"/>
        <pc:sldMkLst>
          <pc:docMk/>
          <pc:sldMk cId="2367529978" sldId="2146846104"/>
        </pc:sldMkLst>
        <pc:spChg chg="mod">
          <ac:chgData name="Stacy Unongo" userId="c539233b-2f8d-4ba7-9131-54d319c95f15" providerId="ADAL" clId="{885C8BE2-FB64-46AF-9AD9-81EABAEB6D1C}" dt="2022-03-28T19:49:50.947" v="371" actId="20577"/>
          <ac:spMkLst>
            <pc:docMk/>
            <pc:sldMk cId="2367529978" sldId="2146846104"/>
            <ac:spMk id="2" creationId="{AD32C72C-1F96-4DFD-ADD8-EB98012F7829}"/>
          </ac:spMkLst>
        </pc:spChg>
        <pc:spChg chg="mod">
          <ac:chgData name="Stacy Unongo" userId="c539233b-2f8d-4ba7-9131-54d319c95f15" providerId="ADAL" clId="{885C8BE2-FB64-46AF-9AD9-81EABAEB6D1C}" dt="2022-03-28T20:25:30.798" v="879" actId="20577"/>
          <ac:spMkLst>
            <pc:docMk/>
            <pc:sldMk cId="2367529978" sldId="2146846104"/>
            <ac:spMk id="4" creationId="{CD3B507D-B343-498F-97D5-78CBF4589AAB}"/>
          </ac:spMkLst>
        </pc:spChg>
        <pc:spChg chg="mod">
          <ac:chgData name="Stacy Unongo" userId="c539233b-2f8d-4ba7-9131-54d319c95f15" providerId="ADAL" clId="{885C8BE2-FB64-46AF-9AD9-81EABAEB6D1C}" dt="2022-03-28T19:55:04.751" v="452" actId="20577"/>
          <ac:spMkLst>
            <pc:docMk/>
            <pc:sldMk cId="2367529978" sldId="2146846104"/>
            <ac:spMk id="7" creationId="{FA6EFE21-4F3A-45B5-ABF0-093745D6274C}"/>
          </ac:spMkLst>
        </pc:spChg>
        <pc:spChg chg="mod">
          <ac:chgData name="Stacy Unongo" userId="c539233b-2f8d-4ba7-9131-54d319c95f15" providerId="ADAL" clId="{885C8BE2-FB64-46AF-9AD9-81EABAEB6D1C}" dt="2022-03-28T19:59:06.610" v="482" actId="790"/>
          <ac:spMkLst>
            <pc:docMk/>
            <pc:sldMk cId="2367529978" sldId="2146846104"/>
            <ac:spMk id="8" creationId="{F03B8265-C3FC-49AD-B22E-50F543F8AA49}"/>
          </ac:spMkLst>
        </pc:spChg>
        <pc:spChg chg="mod">
          <ac:chgData name="Stacy Unongo" userId="c539233b-2f8d-4ba7-9131-54d319c95f15" providerId="ADAL" clId="{885C8BE2-FB64-46AF-9AD9-81EABAEB6D1C}" dt="2022-03-28T19:59:06.610" v="482" actId="790"/>
          <ac:spMkLst>
            <pc:docMk/>
            <pc:sldMk cId="2367529978" sldId="2146846104"/>
            <ac:spMk id="10" creationId="{87810E87-F3A4-403D-9665-3B3290A9623E}"/>
          </ac:spMkLst>
        </pc:spChg>
        <pc:spChg chg="mod">
          <ac:chgData name="Stacy Unongo" userId="c539233b-2f8d-4ba7-9131-54d319c95f15" providerId="ADAL" clId="{885C8BE2-FB64-46AF-9AD9-81EABAEB6D1C}" dt="2022-03-28T19:56:08.839" v="466" actId="790"/>
          <ac:spMkLst>
            <pc:docMk/>
            <pc:sldMk cId="2367529978" sldId="2146846104"/>
            <ac:spMk id="11" creationId="{2D70ED3A-26F9-4DA8-83EB-F7904304F66B}"/>
          </ac:spMkLst>
        </pc:spChg>
        <pc:spChg chg="mod">
          <ac:chgData name="Stacy Unongo" userId="c539233b-2f8d-4ba7-9131-54d319c95f15" providerId="ADAL" clId="{885C8BE2-FB64-46AF-9AD9-81EABAEB6D1C}" dt="2022-03-28T19:58:58.502" v="481" actId="790"/>
          <ac:spMkLst>
            <pc:docMk/>
            <pc:sldMk cId="2367529978" sldId="2146846104"/>
            <ac:spMk id="12" creationId="{8F9F3F36-EB7E-435E-8B73-D6819A0E0E16}"/>
          </ac:spMkLst>
        </pc:spChg>
      </pc:sldChg>
      <pc:sldChg chg="modSp mod">
        <pc:chgData name="Stacy Unongo" userId="c539233b-2f8d-4ba7-9131-54d319c95f15" providerId="ADAL" clId="{885C8BE2-FB64-46AF-9AD9-81EABAEB6D1C}" dt="2022-03-28T20:25:46.925" v="897" actId="20577"/>
        <pc:sldMkLst>
          <pc:docMk/>
          <pc:sldMk cId="3424299804" sldId="2146846135"/>
        </pc:sldMkLst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2" creationId="{3F6BB03A-9D90-4B2D-A0B2-C265AB00B4C1}"/>
          </ac:spMkLst>
        </pc:spChg>
        <pc:spChg chg="mod">
          <ac:chgData name="Stacy Unongo" userId="c539233b-2f8d-4ba7-9131-54d319c95f15" providerId="ADAL" clId="{885C8BE2-FB64-46AF-9AD9-81EABAEB6D1C}" dt="2022-03-28T20:25:46.925" v="897" actId="20577"/>
          <ac:spMkLst>
            <pc:docMk/>
            <pc:sldMk cId="3424299804" sldId="2146846135"/>
            <ac:spMk id="4" creationId="{CD3B507D-B343-498F-97D5-78CBF4589AAB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18" creationId="{4C4406A5-C00B-4FD4-B900-3DF7405E4240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19" creationId="{0ADDEE75-6ABC-4665-BA8C-6E9C49F01F2A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20" creationId="{D780F2E8-6370-46C5-8F64-DACAF21B65BB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21" creationId="{F145CD1F-2C2C-44B5-AD05-046A21800F11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22" creationId="{6F400DA5-9A01-4253-B563-3CC5E567F206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23" creationId="{01F1AC42-BC30-4C91-8933-CB5CABA305E7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24" creationId="{6D6F1EE0-E6F0-49E7-9071-7A6CA4538982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29" creationId="{AC912CE1-71EF-4250-8EA0-0DDA67063F18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56" creationId="{B46C1083-1642-4043-8CB4-E3CEDA2CFB1E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64" creationId="{E2A1B381-8D93-4A35-BB90-6547B7AF5416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65" creationId="{2D059A3F-9F75-4168-8707-F65A92010CB3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66" creationId="{3DD6027A-F97B-4C13-8192-41677BFDC63C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67" creationId="{E1A64BB7-1DB4-41FC-9EB1-B443634F2116}"/>
          </ac:spMkLst>
        </pc:spChg>
        <pc:spChg chg="mod">
          <ac:chgData name="Stacy Unongo" userId="c539233b-2f8d-4ba7-9131-54d319c95f15" providerId="ADAL" clId="{885C8BE2-FB64-46AF-9AD9-81EABAEB6D1C}" dt="2022-03-28T19:50:19.818" v="385" actId="790"/>
          <ac:spMkLst>
            <pc:docMk/>
            <pc:sldMk cId="3424299804" sldId="2146846135"/>
            <ac:spMk id="68" creationId="{6BDF7D48-EAED-4B84-A1DC-098864858910}"/>
          </ac:spMkLst>
        </pc:spChg>
      </pc:sldChg>
      <pc:sldChg chg="modSp mod">
        <pc:chgData name="Stacy Unongo" userId="c539233b-2f8d-4ba7-9131-54d319c95f15" providerId="ADAL" clId="{885C8BE2-FB64-46AF-9AD9-81EABAEB6D1C}" dt="2022-03-28T20:33:55.776" v="936" actId="12788"/>
        <pc:sldMkLst>
          <pc:docMk/>
          <pc:sldMk cId="3576568090" sldId="2146846137"/>
        </pc:sldMkLst>
        <pc:spChg chg="mod">
          <ac:chgData name="Stacy Unongo" userId="c539233b-2f8d-4ba7-9131-54d319c95f15" providerId="ADAL" clId="{885C8BE2-FB64-46AF-9AD9-81EABAEB6D1C}" dt="2022-03-28T20:33:55.776" v="936" actId="12788"/>
          <ac:spMkLst>
            <pc:docMk/>
            <pc:sldMk cId="3576568090" sldId="2146846137"/>
            <ac:spMk id="6" creationId="{C3E24BFF-A0DB-4ECE-96D3-5EAB937B7323}"/>
          </ac:spMkLst>
        </pc:spChg>
        <pc:spChg chg="mod">
          <ac:chgData name="Stacy Unongo" userId="c539233b-2f8d-4ba7-9131-54d319c95f15" providerId="ADAL" clId="{885C8BE2-FB64-46AF-9AD9-81EABAEB6D1C}" dt="2022-03-28T19:07:48.919" v="37" actId="6549"/>
          <ac:spMkLst>
            <pc:docMk/>
            <pc:sldMk cId="3576568090" sldId="2146846137"/>
            <ac:spMk id="9" creationId="{C46E46B2-8DA6-4180-BE6E-D6D94C9C18D5}"/>
          </ac:spMkLst>
        </pc:spChg>
      </pc:sldChg>
      <pc:sldChg chg="modSp mod">
        <pc:chgData name="Stacy Unongo" userId="c539233b-2f8d-4ba7-9131-54d319c95f15" providerId="ADAL" clId="{885C8BE2-FB64-46AF-9AD9-81EABAEB6D1C}" dt="2022-03-28T20:32:59.833" v="916" actId="790"/>
        <pc:sldMkLst>
          <pc:docMk/>
          <pc:sldMk cId="2729674122" sldId="2146846138"/>
        </pc:sldMkLst>
        <pc:spChg chg="mod">
          <ac:chgData name="Stacy Unongo" userId="c539233b-2f8d-4ba7-9131-54d319c95f15" providerId="ADAL" clId="{885C8BE2-FB64-46AF-9AD9-81EABAEB6D1C}" dt="2022-03-28T20:32:59.833" v="916" actId="790"/>
          <ac:spMkLst>
            <pc:docMk/>
            <pc:sldMk cId="2729674122" sldId="2146846138"/>
            <ac:spMk id="8" creationId="{F3692B0D-82AC-41A6-A5BD-1A4B9AC9B985}"/>
          </ac:spMkLst>
        </pc:spChg>
      </pc:sldChg>
      <pc:sldChg chg="modSp mod">
        <pc:chgData name="Stacy Unongo" userId="c539233b-2f8d-4ba7-9131-54d319c95f15" providerId="ADAL" clId="{885C8BE2-FB64-46AF-9AD9-81EABAEB6D1C}" dt="2022-03-28T19:35:28.745" v="196" actId="20577"/>
        <pc:sldMkLst>
          <pc:docMk/>
          <pc:sldMk cId="3308792200" sldId="2146846139"/>
        </pc:sldMkLst>
        <pc:spChg chg="mod">
          <ac:chgData name="Stacy Unongo" userId="c539233b-2f8d-4ba7-9131-54d319c95f15" providerId="ADAL" clId="{885C8BE2-FB64-46AF-9AD9-81EABAEB6D1C}" dt="2022-03-28T19:34:19.643" v="178" actId="114"/>
          <ac:spMkLst>
            <pc:docMk/>
            <pc:sldMk cId="3308792200" sldId="2146846139"/>
            <ac:spMk id="9" creationId="{C46E46B2-8DA6-4180-BE6E-D6D94C9C18D5}"/>
          </ac:spMkLst>
        </pc:spChg>
        <pc:spChg chg="mod">
          <ac:chgData name="Stacy Unongo" userId="c539233b-2f8d-4ba7-9131-54d319c95f15" providerId="ADAL" clId="{885C8BE2-FB64-46AF-9AD9-81EABAEB6D1C}" dt="2022-03-28T19:35:28.745" v="196" actId="20577"/>
          <ac:spMkLst>
            <pc:docMk/>
            <pc:sldMk cId="3308792200" sldId="2146846139"/>
            <ac:spMk id="10" creationId="{BD334509-8071-4DDA-8AA5-4A11F7D38E21}"/>
          </ac:spMkLst>
        </pc:spChg>
        <pc:graphicFrameChg chg="modGraphic">
          <ac:chgData name="Stacy Unongo" userId="c539233b-2f8d-4ba7-9131-54d319c95f15" providerId="ADAL" clId="{885C8BE2-FB64-46AF-9AD9-81EABAEB6D1C}" dt="2022-03-28T19:33:05.058" v="111" actId="20577"/>
          <ac:graphicFrameMkLst>
            <pc:docMk/>
            <pc:sldMk cId="3308792200" sldId="2146846139"/>
            <ac:graphicFrameMk id="7" creationId="{C9AC83A0-A20D-4A6B-8729-5097ABD46F34}"/>
          </ac:graphicFrameMkLst>
        </pc:graphicFrameChg>
      </pc:sldChg>
      <pc:sldChg chg="modSp mod">
        <pc:chgData name="Stacy Unongo" userId="c539233b-2f8d-4ba7-9131-54d319c95f15" providerId="ADAL" clId="{885C8BE2-FB64-46AF-9AD9-81EABAEB6D1C}" dt="2022-03-28T20:24:40.205" v="876" actId="313"/>
        <pc:sldMkLst>
          <pc:docMk/>
          <pc:sldMk cId="2318814632" sldId="2146846140"/>
        </pc:sldMkLst>
        <pc:spChg chg="mod">
          <ac:chgData name="Stacy Unongo" userId="c539233b-2f8d-4ba7-9131-54d319c95f15" providerId="ADAL" clId="{885C8BE2-FB64-46AF-9AD9-81EABAEB6D1C}" dt="2022-03-28T20:24:40.205" v="876" actId="313"/>
          <ac:spMkLst>
            <pc:docMk/>
            <pc:sldMk cId="2318814632" sldId="2146846140"/>
            <ac:spMk id="11" creationId="{4E24824E-F86D-4BF1-A73F-457CD5F4A18D}"/>
          </ac:spMkLst>
        </pc:spChg>
      </pc:sldChg>
      <pc:sldChg chg="modSp mod">
        <pc:chgData name="Stacy Unongo" userId="c539233b-2f8d-4ba7-9131-54d319c95f15" providerId="ADAL" clId="{885C8BE2-FB64-46AF-9AD9-81EABAEB6D1C}" dt="2022-03-28T20:05:53.742" v="635" actId="14100"/>
        <pc:sldMkLst>
          <pc:docMk/>
          <pc:sldMk cId="3494044939" sldId="2146846141"/>
        </pc:sldMkLst>
        <pc:spChg chg="mod">
          <ac:chgData name="Stacy Unongo" userId="c539233b-2f8d-4ba7-9131-54d319c95f15" providerId="ADAL" clId="{885C8BE2-FB64-46AF-9AD9-81EABAEB6D1C}" dt="2022-03-28T20:03:15.824" v="564" actId="20577"/>
          <ac:spMkLst>
            <pc:docMk/>
            <pc:sldMk cId="3494044939" sldId="2146846141"/>
            <ac:spMk id="10" creationId="{11F68A45-4F33-493E-930F-2B9C2E4FDB2F}"/>
          </ac:spMkLst>
        </pc:spChg>
        <pc:spChg chg="mod">
          <ac:chgData name="Stacy Unongo" userId="c539233b-2f8d-4ba7-9131-54d319c95f15" providerId="ADAL" clId="{885C8BE2-FB64-46AF-9AD9-81EABAEB6D1C}" dt="2022-03-28T19:59:53.778" v="530" actId="20577"/>
          <ac:spMkLst>
            <pc:docMk/>
            <pc:sldMk cId="3494044939" sldId="2146846141"/>
            <ac:spMk id="11" creationId="{4E24824E-F86D-4BF1-A73F-457CD5F4A18D}"/>
          </ac:spMkLst>
        </pc:spChg>
        <pc:spChg chg="mod">
          <ac:chgData name="Stacy Unongo" userId="c539233b-2f8d-4ba7-9131-54d319c95f15" providerId="ADAL" clId="{885C8BE2-FB64-46AF-9AD9-81EABAEB6D1C}" dt="2022-03-28T20:05:53.742" v="635" actId="14100"/>
          <ac:spMkLst>
            <pc:docMk/>
            <pc:sldMk cId="3494044939" sldId="2146846141"/>
            <ac:spMk id="16" creationId="{0363F5E5-3982-41A4-BC17-54B86909FA7E}"/>
          </ac:spMkLst>
        </pc:spChg>
      </pc:sldChg>
      <pc:sldChg chg="modSp mod">
        <pc:chgData name="Stacy Unongo" userId="c539233b-2f8d-4ba7-9131-54d319c95f15" providerId="ADAL" clId="{885C8BE2-FB64-46AF-9AD9-81EABAEB6D1C}" dt="2022-03-28T20:32:36.734" v="915" actId="114"/>
        <pc:sldMkLst>
          <pc:docMk/>
          <pc:sldMk cId="4215550961" sldId="2146846142"/>
        </pc:sldMkLst>
        <pc:graphicFrameChg chg="modGraphic">
          <ac:chgData name="Stacy Unongo" userId="c539233b-2f8d-4ba7-9131-54d319c95f15" providerId="ADAL" clId="{885C8BE2-FB64-46AF-9AD9-81EABAEB6D1C}" dt="2022-03-28T20:32:36.734" v="915" actId="114"/>
          <ac:graphicFrameMkLst>
            <pc:docMk/>
            <pc:sldMk cId="4215550961" sldId="2146846142"/>
            <ac:graphicFrameMk id="12" creationId="{2D8E720F-6750-4EC4-A661-2F27B7876BBF}"/>
          </ac:graphicFrameMkLst>
        </pc:graphicFrameChg>
      </pc:sldChg>
    </pc:docChg>
  </pc:docChgLst>
  <pc:docChgLst>
    <pc:chgData name="Katerine Schifino" userId="37bb67de-9fcf-4611-888c-7e5b58184a2a" providerId="ADAL" clId="{D7BBC3CB-68AE-4307-9B5F-60512B429BF0}"/>
    <pc:docChg chg="undo redo custSel addSld delSld modSld sldOrd modMainMaster addSection delSection modSection">
      <pc:chgData name="Katerine Schifino" userId="37bb67de-9fcf-4611-888c-7e5b58184a2a" providerId="ADAL" clId="{D7BBC3CB-68AE-4307-9B5F-60512B429BF0}" dt="2022-03-24T19:07:46.450" v="9649" actId="20577"/>
      <pc:docMkLst>
        <pc:docMk/>
      </pc:docMkLst>
      <pc:sldChg chg="addSp delSp modSp add mod ord modClrScheme modAnim chgLayout">
        <pc:chgData name="Katerine Schifino" userId="37bb67de-9fcf-4611-888c-7e5b58184a2a" providerId="ADAL" clId="{D7BBC3CB-68AE-4307-9B5F-60512B429BF0}" dt="2022-03-24T14:20:38.413" v="9546" actId="478"/>
        <pc:sldMkLst>
          <pc:docMk/>
          <pc:sldMk cId="3768827191" sldId="385"/>
        </pc:sldMkLst>
        <pc:spChg chg="mod topLvl">
          <ac:chgData name="Katerine Schifino" userId="37bb67de-9fcf-4611-888c-7e5b58184a2a" providerId="ADAL" clId="{D7BBC3CB-68AE-4307-9B5F-60512B429BF0}" dt="2022-03-23T13:28:05.573" v="1108" actId="12789"/>
          <ac:spMkLst>
            <pc:docMk/>
            <pc:sldMk cId="3768827191" sldId="385"/>
            <ac:spMk id="9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20:27:35.921" v="3631" actId="20577"/>
          <ac:spMkLst>
            <pc:docMk/>
            <pc:sldMk cId="3768827191" sldId="385"/>
            <ac:spMk id="11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9:14:29.680" v="3177" actId="1035"/>
          <ac:spMkLst>
            <pc:docMk/>
            <pc:sldMk cId="3768827191" sldId="385"/>
            <ac:spMk id="12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3:27:03.124" v="1071" actId="208"/>
          <ac:spMkLst>
            <pc:docMk/>
            <pc:sldMk cId="3768827191" sldId="385"/>
            <ac:spMk id="13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20:28:25.243" v="3645" actId="20577"/>
          <ac:spMkLst>
            <pc:docMk/>
            <pc:sldMk cId="3768827191" sldId="385"/>
            <ac:spMk id="14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9:14:29.680" v="3177" actId="1035"/>
          <ac:spMkLst>
            <pc:docMk/>
            <pc:sldMk cId="3768827191" sldId="385"/>
            <ac:spMk id="15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3:25:40.032" v="1053" actId="208"/>
          <ac:spMkLst>
            <pc:docMk/>
            <pc:sldMk cId="3768827191" sldId="385"/>
            <ac:spMk id="17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20:27:04.109" v="3617"/>
          <ac:spMkLst>
            <pc:docMk/>
            <pc:sldMk cId="3768827191" sldId="385"/>
            <ac:spMk id="18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9:14:29.680" v="3177" actId="1035"/>
          <ac:spMkLst>
            <pc:docMk/>
            <pc:sldMk cId="3768827191" sldId="385"/>
            <ac:spMk id="19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3:25:40.032" v="1053" actId="208"/>
          <ac:spMkLst>
            <pc:docMk/>
            <pc:sldMk cId="3768827191" sldId="385"/>
            <ac:spMk id="21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20:27:55.904" v="3640" actId="20577"/>
          <ac:spMkLst>
            <pc:docMk/>
            <pc:sldMk cId="3768827191" sldId="385"/>
            <ac:spMk id="22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9:14:29.680" v="3177" actId="1035"/>
          <ac:spMkLst>
            <pc:docMk/>
            <pc:sldMk cId="3768827191" sldId="385"/>
            <ac:spMk id="23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3:27:42.412" v="1080" actId="164"/>
          <ac:spMkLst>
            <pc:docMk/>
            <pc:sldMk cId="3768827191" sldId="385"/>
            <ac:spMk id="25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20:28:41.483" v="3646"/>
          <ac:spMkLst>
            <pc:docMk/>
            <pc:sldMk cId="3768827191" sldId="385"/>
            <ac:spMk id="26" creationId="{00000000-0000-0000-0000-000000000000}"/>
          </ac:spMkLst>
        </pc:spChg>
        <pc:spChg chg="mod topLvl">
          <ac:chgData name="Katerine Schifino" userId="37bb67de-9fcf-4611-888c-7e5b58184a2a" providerId="ADAL" clId="{D7BBC3CB-68AE-4307-9B5F-60512B429BF0}" dt="2022-03-23T19:14:29.680" v="3177" actId="1035"/>
          <ac:spMkLst>
            <pc:docMk/>
            <pc:sldMk cId="3768827191" sldId="385"/>
            <ac:spMk id="27" creationId="{00000000-0000-0000-0000-000000000000}"/>
          </ac:spMkLst>
        </pc:spChg>
        <pc:spChg chg="add del mod">
          <ac:chgData name="Katerine Schifino" userId="37bb67de-9fcf-4611-888c-7e5b58184a2a" providerId="ADAL" clId="{D7BBC3CB-68AE-4307-9B5F-60512B429BF0}" dt="2022-03-23T19:14:16.312" v="3169" actId="1076"/>
          <ac:spMkLst>
            <pc:docMk/>
            <pc:sldMk cId="3768827191" sldId="385"/>
            <ac:spMk id="29" creationId="{00000000-0000-0000-0000-000000000000}"/>
          </ac:spMkLst>
        </pc:spChg>
        <pc:spChg chg="del mod">
          <ac:chgData name="Katerine Schifino" userId="37bb67de-9fcf-4611-888c-7e5b58184a2a" providerId="ADAL" clId="{D7BBC3CB-68AE-4307-9B5F-60512B429BF0}" dt="2022-03-23T13:24:06.442" v="967" actId="478"/>
          <ac:spMkLst>
            <pc:docMk/>
            <pc:sldMk cId="3768827191" sldId="385"/>
            <ac:spMk id="30" creationId="{00000000-0000-0000-0000-000000000000}"/>
          </ac:spMkLst>
        </pc:spChg>
        <pc:spChg chg="add mod">
          <ac:chgData name="Katerine Schifino" userId="37bb67de-9fcf-4611-888c-7e5b58184a2a" providerId="ADAL" clId="{D7BBC3CB-68AE-4307-9B5F-60512B429BF0}" dt="2022-03-23T20:26:38.872" v="3616" actId="20577"/>
          <ac:spMkLst>
            <pc:docMk/>
            <pc:sldMk cId="3768827191" sldId="385"/>
            <ac:spMk id="31" creationId="{22C86BCD-FEA4-440C-830D-440B6362E335}"/>
          </ac:spMkLst>
        </pc:spChg>
        <pc:spChg chg="add del mod">
          <ac:chgData name="Katerine Schifino" userId="37bb67de-9fcf-4611-888c-7e5b58184a2a" providerId="ADAL" clId="{D7BBC3CB-68AE-4307-9B5F-60512B429BF0}" dt="2022-03-24T14:20:38.413" v="9546" actId="478"/>
          <ac:spMkLst>
            <pc:docMk/>
            <pc:sldMk cId="3768827191" sldId="385"/>
            <ac:spMk id="37" creationId="{5B511F08-70D5-4B78-BC35-FD7ED689E03F}"/>
          </ac:spMkLst>
        </pc:spChg>
        <pc:grpChg chg="del">
          <ac:chgData name="Katerine Schifino" userId="37bb67de-9fcf-4611-888c-7e5b58184a2a" providerId="ADAL" clId="{D7BBC3CB-68AE-4307-9B5F-60512B429BF0}" dt="2022-03-23T13:24:46.134" v="1015" actId="165"/>
          <ac:grpSpMkLst>
            <pc:docMk/>
            <pc:sldMk cId="3768827191" sldId="385"/>
            <ac:grpSpMk id="3" creationId="{00000000-0000-0000-0000-000000000000}"/>
          </ac:grpSpMkLst>
        </pc:grpChg>
        <pc:grpChg chg="del">
          <ac:chgData name="Katerine Schifino" userId="37bb67de-9fcf-4611-888c-7e5b58184a2a" providerId="ADAL" clId="{D7BBC3CB-68AE-4307-9B5F-60512B429BF0}" dt="2022-03-23T13:24:46.134" v="1015" actId="165"/>
          <ac:grpSpMkLst>
            <pc:docMk/>
            <pc:sldMk cId="3768827191" sldId="385"/>
            <ac:grpSpMk id="4" creationId="{00000000-0000-0000-0000-000000000000}"/>
          </ac:grpSpMkLst>
        </pc:grpChg>
        <pc:grpChg chg="del">
          <ac:chgData name="Katerine Schifino" userId="37bb67de-9fcf-4611-888c-7e5b58184a2a" providerId="ADAL" clId="{D7BBC3CB-68AE-4307-9B5F-60512B429BF0}" dt="2022-03-23T13:24:46.134" v="1015" actId="165"/>
          <ac:grpSpMkLst>
            <pc:docMk/>
            <pc:sldMk cId="3768827191" sldId="385"/>
            <ac:grpSpMk id="5" creationId="{00000000-0000-0000-0000-000000000000}"/>
          </ac:grpSpMkLst>
        </pc:grpChg>
        <pc:grpChg chg="del">
          <ac:chgData name="Katerine Schifino" userId="37bb67de-9fcf-4611-888c-7e5b58184a2a" providerId="ADAL" clId="{D7BBC3CB-68AE-4307-9B5F-60512B429BF0}" dt="2022-03-23T13:24:46.134" v="1015" actId="165"/>
          <ac:grpSpMkLst>
            <pc:docMk/>
            <pc:sldMk cId="3768827191" sldId="385"/>
            <ac:grpSpMk id="6" creationId="{00000000-0000-0000-0000-000000000000}"/>
          </ac:grpSpMkLst>
        </pc:grpChg>
        <pc:grpChg chg="del">
          <ac:chgData name="Katerine Schifino" userId="37bb67de-9fcf-4611-888c-7e5b58184a2a" providerId="ADAL" clId="{D7BBC3CB-68AE-4307-9B5F-60512B429BF0}" dt="2022-03-23T13:24:46.134" v="1015" actId="165"/>
          <ac:grpSpMkLst>
            <pc:docMk/>
            <pc:sldMk cId="3768827191" sldId="385"/>
            <ac:grpSpMk id="7" creationId="{00000000-0000-0000-0000-000000000000}"/>
          </ac:grpSpMkLst>
        </pc:grpChg>
        <pc:grpChg chg="add mod">
          <ac:chgData name="Katerine Schifino" userId="37bb67de-9fcf-4611-888c-7e5b58184a2a" providerId="ADAL" clId="{D7BBC3CB-68AE-4307-9B5F-60512B429BF0}" dt="2022-03-23T13:27:42.412" v="1080" actId="164"/>
          <ac:grpSpMkLst>
            <pc:docMk/>
            <pc:sldMk cId="3768827191" sldId="385"/>
            <ac:grpSpMk id="36" creationId="{66BD77E6-9247-4A8E-A007-E91B3D652549}"/>
          </ac:grpSpMkLst>
        </pc:grpChg>
        <pc:picChg chg="add mod">
          <ac:chgData name="Katerine Schifino" userId="37bb67de-9fcf-4611-888c-7e5b58184a2a" providerId="ADAL" clId="{D7BBC3CB-68AE-4307-9B5F-60512B429BF0}" dt="2022-03-23T13:26:18.639" v="1062" actId="1076"/>
          <ac:picMkLst>
            <pc:docMk/>
            <pc:sldMk cId="3768827191" sldId="385"/>
            <ac:picMk id="8" creationId="{8902D530-99F3-492D-B38B-2F0220702DE5}"/>
          </ac:picMkLst>
        </pc:picChg>
        <pc:picChg chg="mod topLvl">
          <ac:chgData name="Katerine Schifino" userId="37bb67de-9fcf-4611-888c-7e5b58184a2a" providerId="ADAL" clId="{D7BBC3CB-68AE-4307-9B5F-60512B429BF0}" dt="2022-03-23T13:28:05.573" v="1108" actId="12789"/>
          <ac:picMkLst>
            <pc:docMk/>
            <pc:sldMk cId="3768827191" sldId="385"/>
            <ac:picMk id="10" creationId="{00000000-0000-0000-0000-000000000000}"/>
          </ac:picMkLst>
        </pc:picChg>
        <pc:picChg chg="mod topLvl">
          <ac:chgData name="Katerine Schifino" userId="37bb67de-9fcf-4611-888c-7e5b58184a2a" providerId="ADAL" clId="{D7BBC3CB-68AE-4307-9B5F-60512B429BF0}" dt="2022-03-23T13:25:13.861" v="1049" actId="1035"/>
          <ac:picMkLst>
            <pc:docMk/>
            <pc:sldMk cId="3768827191" sldId="385"/>
            <ac:picMk id="16" creationId="{00000000-0000-0000-0000-000000000000}"/>
          </ac:picMkLst>
        </pc:picChg>
        <pc:picChg chg="del mod topLvl">
          <ac:chgData name="Katerine Schifino" userId="37bb67de-9fcf-4611-888c-7e5b58184a2a" providerId="ADAL" clId="{D7BBC3CB-68AE-4307-9B5F-60512B429BF0}" dt="2022-03-23T13:26:07.633" v="1059" actId="478"/>
          <ac:picMkLst>
            <pc:docMk/>
            <pc:sldMk cId="3768827191" sldId="385"/>
            <ac:picMk id="20" creationId="{00000000-0000-0000-0000-000000000000}"/>
          </ac:picMkLst>
        </pc:picChg>
        <pc:picChg chg="del mod topLvl">
          <ac:chgData name="Katerine Schifino" userId="37bb67de-9fcf-4611-888c-7e5b58184a2a" providerId="ADAL" clId="{D7BBC3CB-68AE-4307-9B5F-60512B429BF0}" dt="2022-03-23T13:26:24.048" v="1063" actId="478"/>
          <ac:picMkLst>
            <pc:docMk/>
            <pc:sldMk cId="3768827191" sldId="385"/>
            <ac:picMk id="24" creationId="{00000000-0000-0000-0000-000000000000}"/>
          </ac:picMkLst>
        </pc:picChg>
        <pc:picChg chg="del mod topLvl">
          <ac:chgData name="Katerine Schifino" userId="37bb67de-9fcf-4611-888c-7e5b58184a2a" providerId="ADAL" clId="{D7BBC3CB-68AE-4307-9B5F-60512B429BF0}" dt="2022-03-23T13:26:57.832" v="1069" actId="478"/>
          <ac:picMkLst>
            <pc:docMk/>
            <pc:sldMk cId="3768827191" sldId="385"/>
            <ac:picMk id="28" creationId="{00000000-0000-0000-0000-000000000000}"/>
          </ac:picMkLst>
        </pc:picChg>
        <pc:picChg chg="add mod">
          <ac:chgData name="Katerine Schifino" userId="37bb67de-9fcf-4611-888c-7e5b58184a2a" providerId="ADAL" clId="{D7BBC3CB-68AE-4307-9B5F-60512B429BF0}" dt="2022-03-23T13:26:54.146" v="1068" actId="1076"/>
          <ac:picMkLst>
            <pc:docMk/>
            <pc:sldMk cId="3768827191" sldId="385"/>
            <ac:picMk id="33" creationId="{1A0F90CB-D898-47F9-8E1C-9794B06118B0}"/>
          </ac:picMkLst>
        </pc:picChg>
        <pc:picChg chg="add mod">
          <ac:chgData name="Katerine Schifino" userId="37bb67de-9fcf-4611-888c-7e5b58184a2a" providerId="ADAL" clId="{D7BBC3CB-68AE-4307-9B5F-60512B429BF0}" dt="2022-03-23T13:27:42.412" v="1080" actId="164"/>
          <ac:picMkLst>
            <pc:docMk/>
            <pc:sldMk cId="3768827191" sldId="385"/>
            <ac:picMk id="35" creationId="{57932658-D87F-41A9-AF80-C6CE8BABF426}"/>
          </ac:picMkLst>
        </pc:picChg>
        <pc:picChg chg="add del mod">
          <ac:chgData name="Katerine Schifino" userId="37bb67de-9fcf-4611-888c-7e5b58184a2a" providerId="ADAL" clId="{D7BBC3CB-68AE-4307-9B5F-60512B429BF0}" dt="2022-03-24T14:20:36.422" v="9545" actId="478"/>
          <ac:picMkLst>
            <pc:docMk/>
            <pc:sldMk cId="3768827191" sldId="385"/>
            <ac:picMk id="39" creationId="{1EB57A1F-21C4-4213-BEDA-560D40FC252E}"/>
          </ac:picMkLst>
        </pc:picChg>
      </pc:sldChg>
      <pc:sldChg chg="addSp modSp add mod modClrScheme modAnim chgLayout">
        <pc:chgData name="Katerine Schifino" userId="37bb67de-9fcf-4611-888c-7e5b58184a2a" providerId="ADAL" clId="{D7BBC3CB-68AE-4307-9B5F-60512B429BF0}" dt="2022-03-23T13:50:08.840" v="1668" actId="20577"/>
        <pc:sldMkLst>
          <pc:docMk/>
          <pc:sldMk cId="2330264627" sldId="429"/>
        </pc:sldMkLst>
        <pc:spChg chg="add mod">
          <ac:chgData name="Katerine Schifino" userId="37bb67de-9fcf-4611-888c-7e5b58184a2a" providerId="ADAL" clId="{D7BBC3CB-68AE-4307-9B5F-60512B429BF0}" dt="2022-03-23T13:43:59.526" v="1363"/>
          <ac:spMkLst>
            <pc:docMk/>
            <pc:sldMk cId="2330264627" sldId="429"/>
            <ac:spMk id="3" creationId="{090084BA-2A63-465D-BFCD-4E3DA02262BC}"/>
          </ac:spMkLst>
        </pc:spChg>
        <pc:spChg chg="mod">
          <ac:chgData name="Katerine Schifino" userId="37bb67de-9fcf-4611-888c-7e5b58184a2a" providerId="ADAL" clId="{D7BBC3CB-68AE-4307-9B5F-60512B429BF0}" dt="2022-03-23T13:49:55.981" v="1649" actId="20577"/>
          <ac:spMkLst>
            <pc:docMk/>
            <pc:sldMk cId="2330264627" sldId="429"/>
            <ac:spMk id="4" creationId="{00000000-0000-0000-0000-000000000000}"/>
          </ac:spMkLst>
        </pc:spChg>
        <pc:spChg chg="add mod">
          <ac:chgData name="Katerine Schifino" userId="37bb67de-9fcf-4611-888c-7e5b58184a2a" providerId="ADAL" clId="{D7BBC3CB-68AE-4307-9B5F-60512B429BF0}" dt="2022-03-23T13:44:41.701" v="1381" actId="20577"/>
          <ac:spMkLst>
            <pc:docMk/>
            <pc:sldMk cId="2330264627" sldId="429"/>
            <ac:spMk id="5" creationId="{2BB80A47-9FEE-4BC1-9D79-434C3D794A57}"/>
          </ac:spMkLst>
        </pc:spChg>
        <pc:spChg chg="add mod">
          <ac:chgData name="Katerine Schifino" userId="37bb67de-9fcf-4611-888c-7e5b58184a2a" providerId="ADAL" clId="{D7BBC3CB-68AE-4307-9B5F-60512B429BF0}" dt="2022-03-23T13:50:08.840" v="1668" actId="20577"/>
          <ac:spMkLst>
            <pc:docMk/>
            <pc:sldMk cId="2330264627" sldId="429"/>
            <ac:spMk id="6" creationId="{8E8E45F7-F749-4099-8B58-F86D8C470828}"/>
          </ac:spMkLst>
        </pc:spChg>
      </pc:sldChg>
      <pc:sldChg chg="addSp delSp modSp mod chgLayout">
        <pc:chgData name="Katerine Schifino" userId="37bb67de-9fcf-4611-888c-7e5b58184a2a" providerId="ADAL" clId="{D7BBC3CB-68AE-4307-9B5F-60512B429BF0}" dt="2022-03-23T21:33:15.495" v="5612" actId="1076"/>
        <pc:sldMkLst>
          <pc:docMk/>
          <pc:sldMk cId="4072131230" sldId="2080108012"/>
        </pc:sldMkLst>
        <pc:spChg chg="mod">
          <ac:chgData name="Katerine Schifino" userId="37bb67de-9fcf-4611-888c-7e5b58184a2a" providerId="ADAL" clId="{D7BBC3CB-68AE-4307-9B5F-60512B429BF0}" dt="2022-03-23T21:32:28.765" v="5604" actId="207"/>
          <ac:spMkLst>
            <pc:docMk/>
            <pc:sldMk cId="4072131230" sldId="2080108012"/>
            <ac:spMk id="3" creationId="{FEA9F600-57E1-444E-9B65-D38B4F85ADE7}"/>
          </ac:spMkLst>
        </pc:spChg>
        <pc:picChg chg="add mod">
          <ac:chgData name="Katerine Schifino" userId="37bb67de-9fcf-4611-888c-7e5b58184a2a" providerId="ADAL" clId="{D7BBC3CB-68AE-4307-9B5F-60512B429BF0}" dt="2022-03-23T21:33:15.495" v="5612" actId="1076"/>
          <ac:picMkLst>
            <pc:docMk/>
            <pc:sldMk cId="4072131230" sldId="2080108012"/>
            <ac:picMk id="5" creationId="{04C3582A-2F7A-461C-A271-45CD787E8FA6}"/>
          </ac:picMkLst>
        </pc:picChg>
        <pc:picChg chg="del">
          <ac:chgData name="Katerine Schifino" userId="37bb67de-9fcf-4611-888c-7e5b58184a2a" providerId="ADAL" clId="{D7BBC3CB-68AE-4307-9B5F-60512B429BF0}" dt="2022-03-23T21:32:30.271" v="5605" actId="478"/>
          <ac:picMkLst>
            <pc:docMk/>
            <pc:sldMk cId="4072131230" sldId="2080108012"/>
            <ac:picMk id="8" creationId="{9FBE4C97-13A0-4A23-ABE2-CE9F038F9696}"/>
          </ac:picMkLst>
        </pc:picChg>
      </pc:sldChg>
      <pc:sldChg chg="add del mod chgLayout">
        <pc:chgData name="Katerine Schifino" userId="37bb67de-9fcf-4611-888c-7e5b58184a2a" providerId="ADAL" clId="{D7BBC3CB-68AE-4307-9B5F-60512B429BF0}" dt="2022-03-23T13:36:12.046" v="1139" actId="700"/>
        <pc:sldMkLst>
          <pc:docMk/>
          <pc:sldMk cId="2005008481" sldId="2080108014"/>
        </pc:sldMkLst>
      </pc:sldChg>
      <pc:sldChg chg="modSp mod">
        <pc:chgData name="Katerine Schifino" userId="37bb67de-9fcf-4611-888c-7e5b58184a2a" providerId="ADAL" clId="{D7BBC3CB-68AE-4307-9B5F-60512B429BF0}" dt="2022-03-23T21:32:36.938" v="5606" actId="1076"/>
        <pc:sldMkLst>
          <pc:docMk/>
          <pc:sldMk cId="3366330402" sldId="2080108015"/>
        </pc:sldMkLst>
        <pc:graphicFrameChg chg="mod modGraphic">
          <ac:chgData name="Katerine Schifino" userId="37bb67de-9fcf-4611-888c-7e5b58184a2a" providerId="ADAL" clId="{D7BBC3CB-68AE-4307-9B5F-60512B429BF0}" dt="2022-03-23T21:32:36.938" v="5606" actId="1076"/>
          <ac:graphicFrameMkLst>
            <pc:docMk/>
            <pc:sldMk cId="3366330402" sldId="2080108015"/>
            <ac:graphicFrameMk id="2" creationId="{DABEA71B-03AC-48AD-8E3A-F5B4F36922D0}"/>
          </ac:graphicFrameMkLst>
        </pc:graphicFrameChg>
      </pc:sldChg>
      <pc:sldChg chg="add del ord">
        <pc:chgData name="Katerine Schifino" userId="37bb67de-9fcf-4611-888c-7e5b58184a2a" providerId="ADAL" clId="{D7BBC3CB-68AE-4307-9B5F-60512B429BF0}" dt="2022-03-23T16:30:47.237" v="2477" actId="47"/>
        <pc:sldMkLst>
          <pc:docMk/>
          <pc:sldMk cId="2274449538" sldId="2142531828"/>
        </pc:sldMkLst>
      </pc:sldChg>
      <pc:sldChg chg="delSp add del mod modClrScheme chgLayout">
        <pc:chgData name="Katerine Schifino" userId="37bb67de-9fcf-4611-888c-7e5b58184a2a" providerId="ADAL" clId="{D7BBC3CB-68AE-4307-9B5F-60512B429BF0}" dt="2022-03-23T14:02:34.532" v="1676" actId="2696"/>
        <pc:sldMkLst>
          <pc:docMk/>
          <pc:sldMk cId="3907249047" sldId="2142531828"/>
        </pc:sldMkLst>
        <pc:spChg chg="del">
          <ac:chgData name="Katerine Schifino" userId="37bb67de-9fcf-4611-888c-7e5b58184a2a" providerId="ADAL" clId="{D7BBC3CB-68AE-4307-9B5F-60512B429BF0}" dt="2022-03-23T13:33:03.639" v="1131" actId="478"/>
          <ac:spMkLst>
            <pc:docMk/>
            <pc:sldMk cId="3907249047" sldId="2142531828"/>
            <ac:spMk id="4" creationId="{FF78692E-9C0D-465E-B678-A0EF6B4B3C58}"/>
          </ac:spMkLst>
        </pc:spChg>
        <pc:spChg chg="del">
          <ac:chgData name="Katerine Schifino" userId="37bb67de-9fcf-4611-888c-7e5b58184a2a" providerId="ADAL" clId="{D7BBC3CB-68AE-4307-9B5F-60512B429BF0}" dt="2022-03-23T13:33:03.639" v="1131" actId="478"/>
          <ac:spMkLst>
            <pc:docMk/>
            <pc:sldMk cId="3907249047" sldId="2142531828"/>
            <ac:spMk id="66" creationId="{B2A2290A-468E-4481-981F-F35326471B8B}"/>
          </ac:spMkLst>
        </pc:spChg>
        <pc:spChg chg="del">
          <ac:chgData name="Katerine Schifino" userId="37bb67de-9fcf-4611-888c-7e5b58184a2a" providerId="ADAL" clId="{D7BBC3CB-68AE-4307-9B5F-60512B429BF0}" dt="2022-03-23T13:33:03.639" v="1131" actId="478"/>
          <ac:spMkLst>
            <pc:docMk/>
            <pc:sldMk cId="3907249047" sldId="2142531828"/>
            <ac:spMk id="67" creationId="{0A913AD7-0B9B-4FFD-AE1D-5750E6F33A3F}"/>
          </ac:spMkLst>
        </pc:spChg>
        <pc:spChg chg="del">
          <ac:chgData name="Katerine Schifino" userId="37bb67de-9fcf-4611-888c-7e5b58184a2a" providerId="ADAL" clId="{D7BBC3CB-68AE-4307-9B5F-60512B429BF0}" dt="2022-03-23T13:33:01.491" v="1130" actId="478"/>
          <ac:spMkLst>
            <pc:docMk/>
            <pc:sldMk cId="3907249047" sldId="2142531828"/>
            <ac:spMk id="80" creationId="{4A18D18B-C6B5-4EE0-B5C5-07E4BFC447DD}"/>
          </ac:spMkLst>
        </pc:spChg>
        <pc:grpChg chg="del">
          <ac:chgData name="Katerine Schifino" userId="37bb67de-9fcf-4611-888c-7e5b58184a2a" providerId="ADAL" clId="{D7BBC3CB-68AE-4307-9B5F-60512B429BF0}" dt="2022-03-23T13:33:01.491" v="1130" actId="478"/>
          <ac:grpSpMkLst>
            <pc:docMk/>
            <pc:sldMk cId="3907249047" sldId="2142531828"/>
            <ac:grpSpMk id="5" creationId="{E8380912-0775-442E-BCCD-2AF47F8F0E88}"/>
          </ac:grpSpMkLst>
        </pc:grpChg>
        <pc:grpChg chg="del">
          <ac:chgData name="Katerine Schifino" userId="37bb67de-9fcf-4611-888c-7e5b58184a2a" providerId="ADAL" clId="{D7BBC3CB-68AE-4307-9B5F-60512B429BF0}" dt="2022-03-23T13:33:01.491" v="1130" actId="478"/>
          <ac:grpSpMkLst>
            <pc:docMk/>
            <pc:sldMk cId="3907249047" sldId="2142531828"/>
            <ac:grpSpMk id="6" creationId="{84C0EF26-1C98-4378-89CE-3320D92FC99D}"/>
          </ac:grpSpMkLst>
        </pc:grpChg>
        <pc:grpChg chg="del">
          <ac:chgData name="Katerine Schifino" userId="37bb67de-9fcf-4611-888c-7e5b58184a2a" providerId="ADAL" clId="{D7BBC3CB-68AE-4307-9B5F-60512B429BF0}" dt="2022-03-23T13:33:01.491" v="1130" actId="478"/>
          <ac:grpSpMkLst>
            <pc:docMk/>
            <pc:sldMk cId="3907249047" sldId="2142531828"/>
            <ac:grpSpMk id="7" creationId="{2F135A2B-F098-4329-97E4-44ECBA9DB2D8}"/>
          </ac:grpSpMkLst>
        </pc:grpChg>
        <pc:grpChg chg="del">
          <ac:chgData name="Katerine Schifino" userId="37bb67de-9fcf-4611-888c-7e5b58184a2a" providerId="ADAL" clId="{D7BBC3CB-68AE-4307-9B5F-60512B429BF0}" dt="2022-03-23T13:33:01.491" v="1130" actId="478"/>
          <ac:grpSpMkLst>
            <pc:docMk/>
            <pc:sldMk cId="3907249047" sldId="2142531828"/>
            <ac:grpSpMk id="10" creationId="{E999DE04-EE2E-4D21-AA36-AA5AE2C93815}"/>
          </ac:grpSpMkLst>
        </pc:grpChg>
        <pc:grpChg chg="del">
          <ac:chgData name="Katerine Schifino" userId="37bb67de-9fcf-4611-888c-7e5b58184a2a" providerId="ADAL" clId="{D7BBC3CB-68AE-4307-9B5F-60512B429BF0}" dt="2022-03-23T13:33:01.491" v="1130" actId="478"/>
          <ac:grpSpMkLst>
            <pc:docMk/>
            <pc:sldMk cId="3907249047" sldId="2142531828"/>
            <ac:grpSpMk id="11" creationId="{E6BCC223-8AF5-4247-A73A-AF3EBD105586}"/>
          </ac:grpSpMkLst>
        </pc:grpChg>
        <pc:grpChg chg="del">
          <ac:chgData name="Katerine Schifino" userId="37bb67de-9fcf-4611-888c-7e5b58184a2a" providerId="ADAL" clId="{D7BBC3CB-68AE-4307-9B5F-60512B429BF0}" dt="2022-03-23T13:33:01.491" v="1130" actId="478"/>
          <ac:grpSpMkLst>
            <pc:docMk/>
            <pc:sldMk cId="3907249047" sldId="2142531828"/>
            <ac:grpSpMk id="12" creationId="{FEB0C32F-AAB2-4395-A717-DB0E3AF4A102}"/>
          </ac:grpSpMkLst>
        </pc:grpChg>
      </pc:sldChg>
      <pc:sldChg chg="modSp add del mod">
        <pc:chgData name="Katerine Schifino" userId="37bb67de-9fcf-4611-888c-7e5b58184a2a" providerId="ADAL" clId="{D7BBC3CB-68AE-4307-9B5F-60512B429BF0}" dt="2022-03-23T20:58:35.849" v="4871" actId="47"/>
        <pc:sldMkLst>
          <pc:docMk/>
          <pc:sldMk cId="1145317515" sldId="2142531829"/>
        </pc:sldMkLst>
        <pc:spChg chg="mod">
          <ac:chgData name="Katerine Schifino" userId="37bb67de-9fcf-4611-888c-7e5b58184a2a" providerId="ADAL" clId="{D7BBC3CB-68AE-4307-9B5F-60512B429BF0}" dt="2022-03-23T20:50:27.905" v="4583"/>
          <ac:spMkLst>
            <pc:docMk/>
            <pc:sldMk cId="1145317515" sldId="2142531829"/>
            <ac:spMk id="179" creationId="{42B8673F-F437-4617-B55F-7C1B4F0E3198}"/>
          </ac:spMkLst>
        </pc:spChg>
        <pc:spChg chg="mod">
          <ac:chgData name="Katerine Schifino" userId="37bb67de-9fcf-4611-888c-7e5b58184a2a" providerId="ADAL" clId="{D7BBC3CB-68AE-4307-9B5F-60512B429BF0}" dt="2022-03-23T20:51:38.103" v="4594"/>
          <ac:spMkLst>
            <pc:docMk/>
            <pc:sldMk cId="1145317515" sldId="2142531829"/>
            <ac:spMk id="187" creationId="{C94881C4-27DC-43D8-BF3E-9075735DF6F7}"/>
          </ac:spMkLst>
        </pc:spChg>
        <pc:spChg chg="mod">
          <ac:chgData name="Katerine Schifino" userId="37bb67de-9fcf-4611-888c-7e5b58184a2a" providerId="ADAL" clId="{D7BBC3CB-68AE-4307-9B5F-60512B429BF0}" dt="2022-03-23T20:53:09.635" v="4685"/>
          <ac:spMkLst>
            <pc:docMk/>
            <pc:sldMk cId="1145317515" sldId="2142531829"/>
            <ac:spMk id="194" creationId="{16DE2A39-DD06-4227-BF2D-8C5F75015D84}"/>
          </ac:spMkLst>
        </pc:spChg>
        <pc:spChg chg="mod">
          <ac:chgData name="Katerine Schifino" userId="37bb67de-9fcf-4611-888c-7e5b58184a2a" providerId="ADAL" clId="{D7BBC3CB-68AE-4307-9B5F-60512B429BF0}" dt="2022-03-23T20:54:42.342" v="4715" actId="20577"/>
          <ac:spMkLst>
            <pc:docMk/>
            <pc:sldMk cId="1145317515" sldId="2142531829"/>
            <ac:spMk id="197" creationId="{AF0CC2AD-C47B-4D14-8F19-730EA7BF5CBA}"/>
          </ac:spMkLst>
        </pc:spChg>
        <pc:spChg chg="mod">
          <ac:chgData name="Katerine Schifino" userId="37bb67de-9fcf-4611-888c-7e5b58184a2a" providerId="ADAL" clId="{D7BBC3CB-68AE-4307-9B5F-60512B429BF0}" dt="2022-03-23T20:54:08.765" v="4702"/>
          <ac:spMkLst>
            <pc:docMk/>
            <pc:sldMk cId="1145317515" sldId="2142531829"/>
            <ac:spMk id="198" creationId="{3E114483-A300-46FF-BEDE-7C3B3B470ED4}"/>
          </ac:spMkLst>
        </pc:spChg>
      </pc:sldChg>
      <pc:sldChg chg="delSp add del mod modClrScheme chgLayout">
        <pc:chgData name="Katerine Schifino" userId="37bb67de-9fcf-4611-888c-7e5b58184a2a" providerId="ADAL" clId="{D7BBC3CB-68AE-4307-9B5F-60512B429BF0}" dt="2022-03-23T14:17:01.238" v="1706" actId="2696"/>
        <pc:sldMkLst>
          <pc:docMk/>
          <pc:sldMk cId="3012970584" sldId="2142531829"/>
        </pc:sldMkLst>
        <pc:spChg chg="del">
          <ac:chgData name="Katerine Schifino" userId="37bb67de-9fcf-4611-888c-7e5b58184a2a" providerId="ADAL" clId="{D7BBC3CB-68AE-4307-9B5F-60512B429BF0}" dt="2022-03-23T13:33:12.408" v="1133" actId="478"/>
          <ac:spMkLst>
            <pc:docMk/>
            <pc:sldMk cId="3012970584" sldId="2142531829"/>
            <ac:spMk id="78" creationId="{645F4566-9A80-41D3-BD1B-5D6F485D4E04}"/>
          </ac:spMkLst>
        </pc:spChg>
        <pc:spChg chg="del">
          <ac:chgData name="Katerine Schifino" userId="37bb67de-9fcf-4611-888c-7e5b58184a2a" providerId="ADAL" clId="{D7BBC3CB-68AE-4307-9B5F-60512B429BF0}" dt="2022-03-23T13:33:14.743" v="1134" actId="478"/>
          <ac:spMkLst>
            <pc:docMk/>
            <pc:sldMk cId="3012970584" sldId="2142531829"/>
            <ac:spMk id="94" creationId="{2405823B-EBF4-4FA4-A6AB-394ACE82071E}"/>
          </ac:spMkLst>
        </pc:spChg>
        <pc:spChg chg="del">
          <ac:chgData name="Katerine Schifino" userId="37bb67de-9fcf-4611-888c-7e5b58184a2a" providerId="ADAL" clId="{D7BBC3CB-68AE-4307-9B5F-60512B429BF0}" dt="2022-03-23T13:33:14.743" v="1134" actId="478"/>
          <ac:spMkLst>
            <pc:docMk/>
            <pc:sldMk cId="3012970584" sldId="2142531829"/>
            <ac:spMk id="95" creationId="{DD068CB6-BEE5-4C58-AADC-0219F5FF167B}"/>
          </ac:spMkLst>
        </pc:spChg>
        <pc:spChg chg="del">
          <ac:chgData name="Katerine Schifino" userId="37bb67de-9fcf-4611-888c-7e5b58184a2a" providerId="ADAL" clId="{D7BBC3CB-68AE-4307-9B5F-60512B429BF0}" dt="2022-03-23T13:33:14.743" v="1134" actId="478"/>
          <ac:spMkLst>
            <pc:docMk/>
            <pc:sldMk cId="3012970584" sldId="2142531829"/>
            <ac:spMk id="96" creationId="{DBDF43E9-DB30-4B17-8E43-B7CA8B290C26}"/>
          </ac:spMkLst>
        </pc:spChg>
        <pc:grpChg chg="del">
          <ac:chgData name="Katerine Schifino" userId="37bb67de-9fcf-4611-888c-7e5b58184a2a" providerId="ADAL" clId="{D7BBC3CB-68AE-4307-9B5F-60512B429BF0}" dt="2022-03-23T13:33:12.408" v="1133" actId="478"/>
          <ac:grpSpMkLst>
            <pc:docMk/>
            <pc:sldMk cId="3012970584" sldId="2142531829"/>
            <ac:grpSpMk id="75" creationId="{DCCE35A2-8C3E-4B37-9E4B-F22A3C5DBBCF}"/>
          </ac:grpSpMkLst>
        </pc:grpChg>
        <pc:grpChg chg="del">
          <ac:chgData name="Katerine Schifino" userId="37bb67de-9fcf-4611-888c-7e5b58184a2a" providerId="ADAL" clId="{D7BBC3CB-68AE-4307-9B5F-60512B429BF0}" dt="2022-03-23T13:33:12.408" v="1133" actId="478"/>
          <ac:grpSpMkLst>
            <pc:docMk/>
            <pc:sldMk cId="3012970584" sldId="2142531829"/>
            <ac:grpSpMk id="79" creationId="{681C12F9-1B98-47B5-85AA-47E6BD9462FE}"/>
          </ac:grpSpMkLst>
        </pc:grpChg>
        <pc:grpChg chg="del">
          <ac:chgData name="Katerine Schifino" userId="37bb67de-9fcf-4611-888c-7e5b58184a2a" providerId="ADAL" clId="{D7BBC3CB-68AE-4307-9B5F-60512B429BF0}" dt="2022-03-23T13:33:12.408" v="1133" actId="478"/>
          <ac:grpSpMkLst>
            <pc:docMk/>
            <pc:sldMk cId="3012970584" sldId="2142531829"/>
            <ac:grpSpMk id="82" creationId="{37DD9D17-5790-4679-90E4-7BBE8EFE2A19}"/>
          </ac:grpSpMkLst>
        </pc:grpChg>
        <pc:grpChg chg="del">
          <ac:chgData name="Katerine Schifino" userId="37bb67de-9fcf-4611-888c-7e5b58184a2a" providerId="ADAL" clId="{D7BBC3CB-68AE-4307-9B5F-60512B429BF0}" dt="2022-03-23T13:33:12.408" v="1133" actId="478"/>
          <ac:grpSpMkLst>
            <pc:docMk/>
            <pc:sldMk cId="3012970584" sldId="2142531829"/>
            <ac:grpSpMk id="85" creationId="{50284735-9658-4DA4-9ED9-E6CEC77DBCF7}"/>
          </ac:grpSpMkLst>
        </pc:grpChg>
        <pc:grpChg chg="del">
          <ac:chgData name="Katerine Schifino" userId="37bb67de-9fcf-4611-888c-7e5b58184a2a" providerId="ADAL" clId="{D7BBC3CB-68AE-4307-9B5F-60512B429BF0}" dt="2022-03-23T13:33:12.408" v="1133" actId="478"/>
          <ac:grpSpMkLst>
            <pc:docMk/>
            <pc:sldMk cId="3012970584" sldId="2142531829"/>
            <ac:grpSpMk id="88" creationId="{D4E8CC5A-B0BD-40F8-8313-23CBBEE3E867}"/>
          </ac:grpSpMkLst>
        </pc:grpChg>
        <pc:grpChg chg="del">
          <ac:chgData name="Katerine Schifino" userId="37bb67de-9fcf-4611-888c-7e5b58184a2a" providerId="ADAL" clId="{D7BBC3CB-68AE-4307-9B5F-60512B429BF0}" dt="2022-03-23T13:33:12.408" v="1133" actId="478"/>
          <ac:grpSpMkLst>
            <pc:docMk/>
            <pc:sldMk cId="3012970584" sldId="2142531829"/>
            <ac:grpSpMk id="91" creationId="{143289BB-11BB-4144-BEC9-519C85AE9A60}"/>
          </ac:grpSpMkLst>
        </pc:grpChg>
      </pc:sldChg>
      <pc:sldChg chg="delSp modSp add del mod modClrScheme chgLayout">
        <pc:chgData name="Katerine Schifino" userId="37bb67de-9fcf-4611-888c-7e5b58184a2a" providerId="ADAL" clId="{D7BBC3CB-68AE-4307-9B5F-60512B429BF0}" dt="2022-03-23T14:01:51.979" v="1675" actId="47"/>
        <pc:sldMkLst>
          <pc:docMk/>
          <pc:sldMk cId="544499331" sldId="2142531834"/>
        </pc:sldMkLst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3" creationId="{2C8147C4-B16F-4EA9-8F05-F9E19F979428}"/>
          </ac:spMkLst>
        </pc:spChg>
        <pc:spChg chg="del">
          <ac:chgData name="Katerine Schifino" userId="37bb67de-9fcf-4611-888c-7e5b58184a2a" providerId="ADAL" clId="{D7BBC3CB-68AE-4307-9B5F-60512B429BF0}" dt="2022-03-23T13:31:39.891" v="1123" actId="478"/>
          <ac:spMkLst>
            <pc:docMk/>
            <pc:sldMk cId="544499331" sldId="2142531834"/>
            <ac:spMk id="4" creationId="{FF78692E-9C0D-465E-B678-A0EF6B4B3C58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46" creationId="{77217AC5-4B6C-4E44-929E-7A892E937DFD}"/>
          </ac:spMkLst>
        </pc:spChg>
        <pc:spChg chg="del">
          <ac:chgData name="Katerine Schifino" userId="37bb67de-9fcf-4611-888c-7e5b58184a2a" providerId="ADAL" clId="{D7BBC3CB-68AE-4307-9B5F-60512B429BF0}" dt="2022-03-23T13:31:39.891" v="1123" actId="478"/>
          <ac:spMkLst>
            <pc:docMk/>
            <pc:sldMk cId="544499331" sldId="2142531834"/>
            <ac:spMk id="66" creationId="{B2A2290A-468E-4481-981F-F35326471B8B}"/>
          </ac:spMkLst>
        </pc:spChg>
        <pc:spChg chg="del">
          <ac:chgData name="Katerine Schifino" userId="37bb67de-9fcf-4611-888c-7e5b58184a2a" providerId="ADAL" clId="{D7BBC3CB-68AE-4307-9B5F-60512B429BF0}" dt="2022-03-23T13:31:39.891" v="1123" actId="478"/>
          <ac:spMkLst>
            <pc:docMk/>
            <pc:sldMk cId="544499331" sldId="2142531834"/>
            <ac:spMk id="67" creationId="{0A913AD7-0B9B-4FFD-AE1D-5750E6F33A3F}"/>
          </ac:spMkLst>
        </pc:spChg>
        <pc:spChg chg="del">
          <ac:chgData name="Katerine Schifino" userId="37bb67de-9fcf-4611-888c-7e5b58184a2a" providerId="ADAL" clId="{D7BBC3CB-68AE-4307-9B5F-60512B429BF0}" dt="2022-03-23T13:31:37.061" v="1122" actId="478"/>
          <ac:spMkLst>
            <pc:docMk/>
            <pc:sldMk cId="544499331" sldId="2142531834"/>
            <ac:spMk id="80" creationId="{4A18D18B-C6B5-4EE0-B5C5-07E4BFC447DD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87" creationId="{91A4CBC8-56FB-455C-B68B-F882B16862C3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05" creationId="{57F722F7-7ABF-4AED-8BF9-7C80FF8F5E82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07" creationId="{1D9AD282-7938-4D70-99C9-505D5E8246F2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15" creationId="{825E0B2A-71CA-443F-B0E8-5CA32CA15619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17" creationId="{3497A318-A5E3-4C70-AA3B-592F2920A4B3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21" creationId="{E8B2302E-CDCF-454A-9FAC-6B3556C12CEF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22" creationId="{7356F36D-0353-41AE-815F-86545EA711A1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25" creationId="{D54459B7-7996-4F5C-944D-8AD9072BFF7C}"/>
          </ac:spMkLst>
        </pc:spChg>
        <pc:spChg chg="mod">
          <ac:chgData name="Katerine Schifino" userId="37bb67de-9fcf-4611-888c-7e5b58184a2a" providerId="ADAL" clId="{D7BBC3CB-68AE-4307-9B5F-60512B429BF0}" dt="2022-03-23T13:31:54.758" v="1124" actId="1076"/>
          <ac:spMkLst>
            <pc:docMk/>
            <pc:sldMk cId="544499331" sldId="2142531834"/>
            <ac:spMk id="126" creationId="{9FD5D4E0-8C4D-4729-8F53-B76C0C842784}"/>
          </ac:spMkLst>
        </pc:spChg>
        <pc:grpChg chg="del">
          <ac:chgData name="Katerine Schifino" userId="37bb67de-9fcf-4611-888c-7e5b58184a2a" providerId="ADAL" clId="{D7BBC3CB-68AE-4307-9B5F-60512B429BF0}" dt="2022-03-23T13:31:37.061" v="1122" actId="478"/>
          <ac:grpSpMkLst>
            <pc:docMk/>
            <pc:sldMk cId="544499331" sldId="2142531834"/>
            <ac:grpSpMk id="5" creationId="{E8380912-0775-442E-BCCD-2AF47F8F0E88}"/>
          </ac:grpSpMkLst>
        </pc:grpChg>
        <pc:grpChg chg="del">
          <ac:chgData name="Katerine Schifino" userId="37bb67de-9fcf-4611-888c-7e5b58184a2a" providerId="ADAL" clId="{D7BBC3CB-68AE-4307-9B5F-60512B429BF0}" dt="2022-03-23T13:31:37.061" v="1122" actId="478"/>
          <ac:grpSpMkLst>
            <pc:docMk/>
            <pc:sldMk cId="544499331" sldId="2142531834"/>
            <ac:grpSpMk id="6" creationId="{84C0EF26-1C98-4378-89CE-3320D92FC99D}"/>
          </ac:grpSpMkLst>
        </pc:grpChg>
        <pc:grpChg chg="del">
          <ac:chgData name="Katerine Schifino" userId="37bb67de-9fcf-4611-888c-7e5b58184a2a" providerId="ADAL" clId="{D7BBC3CB-68AE-4307-9B5F-60512B429BF0}" dt="2022-03-23T13:31:37.061" v="1122" actId="478"/>
          <ac:grpSpMkLst>
            <pc:docMk/>
            <pc:sldMk cId="544499331" sldId="2142531834"/>
            <ac:grpSpMk id="7" creationId="{2F135A2B-F098-4329-97E4-44ECBA9DB2D8}"/>
          </ac:grpSpMkLst>
        </pc:grpChg>
        <pc:grpChg chg="mod">
          <ac:chgData name="Katerine Schifino" userId="37bb67de-9fcf-4611-888c-7e5b58184a2a" providerId="ADAL" clId="{D7BBC3CB-68AE-4307-9B5F-60512B429BF0}" dt="2022-03-23T13:31:54.758" v="1124" actId="1076"/>
          <ac:grpSpMkLst>
            <pc:docMk/>
            <pc:sldMk cId="544499331" sldId="2142531834"/>
            <ac:grpSpMk id="8" creationId="{1B5BD8F5-F7DC-41D7-A74F-31A4C0748F42}"/>
          </ac:grpSpMkLst>
        </pc:grpChg>
        <pc:grpChg chg="del">
          <ac:chgData name="Katerine Schifino" userId="37bb67de-9fcf-4611-888c-7e5b58184a2a" providerId="ADAL" clId="{D7BBC3CB-68AE-4307-9B5F-60512B429BF0}" dt="2022-03-23T13:31:37.061" v="1122" actId="478"/>
          <ac:grpSpMkLst>
            <pc:docMk/>
            <pc:sldMk cId="544499331" sldId="2142531834"/>
            <ac:grpSpMk id="10" creationId="{E999DE04-EE2E-4D21-AA36-AA5AE2C93815}"/>
          </ac:grpSpMkLst>
        </pc:grpChg>
        <pc:grpChg chg="del">
          <ac:chgData name="Katerine Schifino" userId="37bb67de-9fcf-4611-888c-7e5b58184a2a" providerId="ADAL" clId="{D7BBC3CB-68AE-4307-9B5F-60512B429BF0}" dt="2022-03-23T13:31:37.061" v="1122" actId="478"/>
          <ac:grpSpMkLst>
            <pc:docMk/>
            <pc:sldMk cId="544499331" sldId="2142531834"/>
            <ac:grpSpMk id="11" creationId="{E6BCC223-8AF5-4247-A73A-AF3EBD105586}"/>
          </ac:grpSpMkLst>
        </pc:grpChg>
        <pc:grpChg chg="del">
          <ac:chgData name="Katerine Schifino" userId="37bb67de-9fcf-4611-888c-7e5b58184a2a" providerId="ADAL" clId="{D7BBC3CB-68AE-4307-9B5F-60512B429BF0}" dt="2022-03-23T13:31:37.061" v="1122" actId="478"/>
          <ac:grpSpMkLst>
            <pc:docMk/>
            <pc:sldMk cId="544499331" sldId="2142531834"/>
            <ac:grpSpMk id="12" creationId="{FEB0C32F-AAB2-4395-A717-DB0E3AF4A102}"/>
          </ac:grpSpMkLst>
        </pc:grpChg>
        <pc:cxnChg chg="del">
          <ac:chgData name="Katerine Schifino" userId="37bb67de-9fcf-4611-888c-7e5b58184a2a" providerId="ADAL" clId="{D7BBC3CB-68AE-4307-9B5F-60512B429BF0}" dt="2022-03-23T13:31:39.891" v="1123" actId="478"/>
          <ac:cxnSpMkLst>
            <pc:docMk/>
            <pc:sldMk cId="544499331" sldId="2142531834"/>
            <ac:cxnSpMk id="88" creationId="{9BDDCFDA-0979-4865-BC55-1E18EAFF4777}"/>
          </ac:cxnSpMkLst>
        </pc:cxnChg>
        <pc:cxnChg chg="mod">
          <ac:chgData name="Katerine Schifino" userId="37bb67de-9fcf-4611-888c-7e5b58184a2a" providerId="ADAL" clId="{D7BBC3CB-68AE-4307-9B5F-60512B429BF0}" dt="2022-03-23T13:31:54.758" v="1124" actId="1076"/>
          <ac:cxnSpMkLst>
            <pc:docMk/>
            <pc:sldMk cId="544499331" sldId="2142531834"/>
            <ac:cxnSpMk id="89" creationId="{7AC1DEAB-EE37-44E9-A080-A816DFC90A3E}"/>
          </ac:cxnSpMkLst>
        </pc:cxnChg>
      </pc:sldChg>
      <pc:sldChg chg="delSp modSp add del mod ord modClrScheme chgLayout">
        <pc:chgData name="Katerine Schifino" userId="37bb67de-9fcf-4611-888c-7e5b58184a2a" providerId="ADAL" clId="{D7BBC3CB-68AE-4307-9B5F-60512B429BF0}" dt="2022-03-23T20:43:07.984" v="4360" actId="47"/>
        <pc:sldMkLst>
          <pc:docMk/>
          <pc:sldMk cId="4241153634" sldId="2142531835"/>
        </pc:sldMkLst>
        <pc:spChg chg="mod">
          <ac:chgData name="Katerine Schifino" userId="37bb67de-9fcf-4611-888c-7e5b58184a2a" providerId="ADAL" clId="{D7BBC3CB-68AE-4307-9B5F-60512B429BF0}" dt="2022-03-23T20:42:31.519" v="4321" actId="1076"/>
          <ac:spMkLst>
            <pc:docMk/>
            <pc:sldMk cId="4241153634" sldId="2142531835"/>
            <ac:spMk id="2" creationId="{BCF0D6BF-CEAB-434E-AB0E-FCC04F0C7960}"/>
          </ac:spMkLst>
        </pc:spChg>
        <pc:spChg chg="del">
          <ac:chgData name="Katerine Schifino" userId="37bb67de-9fcf-4611-888c-7e5b58184a2a" providerId="ADAL" clId="{D7BBC3CB-68AE-4307-9B5F-60512B429BF0}" dt="2022-03-23T13:31:59.560" v="1125" actId="478"/>
          <ac:spMkLst>
            <pc:docMk/>
            <pc:sldMk cId="4241153634" sldId="2142531835"/>
            <ac:spMk id="78" creationId="{5BF2E2C4-804B-406F-AED2-63EE1573EA48}"/>
          </ac:spMkLst>
        </pc:spChg>
        <pc:spChg chg="del">
          <ac:chgData name="Katerine Schifino" userId="37bb67de-9fcf-4611-888c-7e5b58184a2a" providerId="ADAL" clId="{D7BBC3CB-68AE-4307-9B5F-60512B429BF0}" dt="2022-03-23T13:32:02.772" v="1126" actId="478"/>
          <ac:spMkLst>
            <pc:docMk/>
            <pc:sldMk cId="4241153634" sldId="2142531835"/>
            <ac:spMk id="94" creationId="{2405823B-EBF4-4FA4-A6AB-394ACE82071E}"/>
          </ac:spMkLst>
        </pc:spChg>
        <pc:spChg chg="del">
          <ac:chgData name="Katerine Schifino" userId="37bb67de-9fcf-4611-888c-7e5b58184a2a" providerId="ADAL" clId="{D7BBC3CB-68AE-4307-9B5F-60512B429BF0}" dt="2022-03-23T13:32:02.772" v="1126" actId="478"/>
          <ac:spMkLst>
            <pc:docMk/>
            <pc:sldMk cId="4241153634" sldId="2142531835"/>
            <ac:spMk id="95" creationId="{DD068CB6-BEE5-4C58-AADC-0219F5FF167B}"/>
          </ac:spMkLst>
        </pc:spChg>
        <pc:spChg chg="del">
          <ac:chgData name="Katerine Schifino" userId="37bb67de-9fcf-4611-888c-7e5b58184a2a" providerId="ADAL" clId="{D7BBC3CB-68AE-4307-9B5F-60512B429BF0}" dt="2022-03-23T13:32:02.772" v="1126" actId="478"/>
          <ac:spMkLst>
            <pc:docMk/>
            <pc:sldMk cId="4241153634" sldId="2142531835"/>
            <ac:spMk id="96" creationId="{DBDF43E9-DB30-4B17-8E43-B7CA8B290C26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110" creationId="{49E485B1-952F-4102-BC37-65B124D8CEA2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111" creationId="{4C91B9CF-4341-4E11-A414-F4430D647F37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207" creationId="{62E8F967-33A5-4301-AF8C-8D7BB8FB6CFA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209" creationId="{15CB7A51-A970-4BBE-ADF9-64F6A1A8CB77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210" creationId="{67C392D9-694E-4EA9-BD36-DC94CC0C76A3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212" creationId="{7080518C-3E9D-4840-9BF6-714D43A99C64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255" creationId="{55865BED-B86F-49AE-9FB0-08E1F54F1F13}"/>
          </ac:spMkLst>
        </pc:spChg>
        <pc:spChg chg="mod">
          <ac:chgData name="Katerine Schifino" userId="37bb67de-9fcf-4611-888c-7e5b58184a2a" providerId="ADAL" clId="{D7BBC3CB-68AE-4307-9B5F-60512B429BF0}" dt="2022-03-23T13:32:16.708" v="1128" actId="1076"/>
          <ac:spMkLst>
            <pc:docMk/>
            <pc:sldMk cId="4241153634" sldId="2142531835"/>
            <ac:spMk id="256" creationId="{CB75376E-16F6-4C0C-A061-DA09B2444C89}"/>
          </ac:spMkLst>
        </pc:spChg>
        <pc:grpChg chg="mod">
          <ac:chgData name="Katerine Schifino" userId="37bb67de-9fcf-4611-888c-7e5b58184a2a" providerId="ADAL" clId="{D7BBC3CB-68AE-4307-9B5F-60512B429BF0}" dt="2022-03-23T20:42:31.519" v="4321" actId="1076"/>
          <ac:grpSpMkLst>
            <pc:docMk/>
            <pc:sldMk cId="4241153634" sldId="2142531835"/>
            <ac:grpSpMk id="11" creationId="{32ACA7DA-22CD-4C72-BA83-188B74483F97}"/>
          </ac:grpSpMkLst>
        </pc:grpChg>
        <pc:grpChg chg="mod">
          <ac:chgData name="Katerine Schifino" userId="37bb67de-9fcf-4611-888c-7e5b58184a2a" providerId="ADAL" clId="{D7BBC3CB-68AE-4307-9B5F-60512B429BF0}" dt="2022-03-23T13:32:16.708" v="1128" actId="1076"/>
          <ac:grpSpMkLst>
            <pc:docMk/>
            <pc:sldMk cId="4241153634" sldId="2142531835"/>
            <ac:grpSpMk id="12" creationId="{DD4054E1-96DB-4DF0-8974-1F84FCD097C3}"/>
          </ac:grpSpMkLst>
        </pc:grpChg>
        <pc:grpChg chg="mod">
          <ac:chgData name="Katerine Schifino" userId="37bb67de-9fcf-4611-888c-7e5b58184a2a" providerId="ADAL" clId="{D7BBC3CB-68AE-4307-9B5F-60512B429BF0}" dt="2022-03-23T13:32:16.708" v="1128" actId="1076"/>
          <ac:grpSpMkLst>
            <pc:docMk/>
            <pc:sldMk cId="4241153634" sldId="2142531835"/>
            <ac:grpSpMk id="14" creationId="{89A7837C-91AC-47E0-B7E1-A5D0AF6ADDD3}"/>
          </ac:grpSpMkLst>
        </pc:grpChg>
        <pc:grpChg chg="mod">
          <ac:chgData name="Katerine Schifino" userId="37bb67de-9fcf-4611-888c-7e5b58184a2a" providerId="ADAL" clId="{D7BBC3CB-68AE-4307-9B5F-60512B429BF0}" dt="2022-03-23T13:32:16.708" v="1128" actId="1076"/>
          <ac:grpSpMkLst>
            <pc:docMk/>
            <pc:sldMk cId="4241153634" sldId="2142531835"/>
            <ac:grpSpMk id="15" creationId="{612F224D-F4F1-430C-9208-C349EB7B236A}"/>
          </ac:grpSpMkLst>
        </pc:grpChg>
        <pc:grpChg chg="mod">
          <ac:chgData name="Katerine Schifino" userId="37bb67de-9fcf-4611-888c-7e5b58184a2a" providerId="ADAL" clId="{D7BBC3CB-68AE-4307-9B5F-60512B429BF0}" dt="2022-03-23T13:32:16.708" v="1128" actId="1076"/>
          <ac:grpSpMkLst>
            <pc:docMk/>
            <pc:sldMk cId="4241153634" sldId="2142531835"/>
            <ac:grpSpMk id="16" creationId="{0A25FF44-2003-4778-981B-CA4B5192070F}"/>
          </ac:grpSpMkLst>
        </pc:grpChg>
        <pc:grpChg chg="mod">
          <ac:chgData name="Katerine Schifino" userId="37bb67de-9fcf-4611-888c-7e5b58184a2a" providerId="ADAL" clId="{D7BBC3CB-68AE-4307-9B5F-60512B429BF0}" dt="2022-03-23T13:32:16.708" v="1128" actId="1076"/>
          <ac:grpSpMkLst>
            <pc:docMk/>
            <pc:sldMk cId="4241153634" sldId="2142531835"/>
            <ac:grpSpMk id="18" creationId="{3C27FC32-8414-4FBF-ADF8-32CB26E76045}"/>
          </ac:grpSpMkLst>
        </pc:grpChg>
        <pc:grpChg chg="del">
          <ac:chgData name="Katerine Schifino" userId="37bb67de-9fcf-4611-888c-7e5b58184a2a" providerId="ADAL" clId="{D7BBC3CB-68AE-4307-9B5F-60512B429BF0}" dt="2022-03-23T13:31:59.560" v="1125" actId="478"/>
          <ac:grpSpMkLst>
            <pc:docMk/>
            <pc:sldMk cId="4241153634" sldId="2142531835"/>
            <ac:grpSpMk id="75" creationId="{7F6D533C-5402-46F3-95FD-E1D651D35784}"/>
          </ac:grpSpMkLst>
        </pc:grpChg>
        <pc:grpChg chg="del">
          <ac:chgData name="Katerine Schifino" userId="37bb67de-9fcf-4611-888c-7e5b58184a2a" providerId="ADAL" clId="{D7BBC3CB-68AE-4307-9B5F-60512B429BF0}" dt="2022-03-23T13:31:59.560" v="1125" actId="478"/>
          <ac:grpSpMkLst>
            <pc:docMk/>
            <pc:sldMk cId="4241153634" sldId="2142531835"/>
            <ac:grpSpMk id="79" creationId="{28855396-B695-4C85-80A0-BDD5DAD5DD1D}"/>
          </ac:grpSpMkLst>
        </pc:grpChg>
        <pc:grpChg chg="del">
          <ac:chgData name="Katerine Schifino" userId="37bb67de-9fcf-4611-888c-7e5b58184a2a" providerId="ADAL" clId="{D7BBC3CB-68AE-4307-9B5F-60512B429BF0}" dt="2022-03-23T13:31:59.560" v="1125" actId="478"/>
          <ac:grpSpMkLst>
            <pc:docMk/>
            <pc:sldMk cId="4241153634" sldId="2142531835"/>
            <ac:grpSpMk id="82" creationId="{67501AB9-CEEE-4500-AD5F-BA23650C6CEE}"/>
          </ac:grpSpMkLst>
        </pc:grpChg>
        <pc:grpChg chg="del">
          <ac:chgData name="Katerine Schifino" userId="37bb67de-9fcf-4611-888c-7e5b58184a2a" providerId="ADAL" clId="{D7BBC3CB-68AE-4307-9B5F-60512B429BF0}" dt="2022-03-23T13:31:59.560" v="1125" actId="478"/>
          <ac:grpSpMkLst>
            <pc:docMk/>
            <pc:sldMk cId="4241153634" sldId="2142531835"/>
            <ac:grpSpMk id="85" creationId="{F01FA985-6787-44C6-8AAF-DE111900F5D5}"/>
          </ac:grpSpMkLst>
        </pc:grpChg>
        <pc:grpChg chg="del">
          <ac:chgData name="Katerine Schifino" userId="37bb67de-9fcf-4611-888c-7e5b58184a2a" providerId="ADAL" clId="{D7BBC3CB-68AE-4307-9B5F-60512B429BF0}" dt="2022-03-23T13:31:59.560" v="1125" actId="478"/>
          <ac:grpSpMkLst>
            <pc:docMk/>
            <pc:sldMk cId="4241153634" sldId="2142531835"/>
            <ac:grpSpMk id="88" creationId="{07E9BCEB-EDA2-4BC0-B9F5-A96B591BC525}"/>
          </ac:grpSpMkLst>
        </pc:grpChg>
        <pc:grpChg chg="del">
          <ac:chgData name="Katerine Schifino" userId="37bb67de-9fcf-4611-888c-7e5b58184a2a" providerId="ADAL" clId="{D7BBC3CB-68AE-4307-9B5F-60512B429BF0}" dt="2022-03-23T13:31:59.560" v="1125" actId="478"/>
          <ac:grpSpMkLst>
            <pc:docMk/>
            <pc:sldMk cId="4241153634" sldId="2142531835"/>
            <ac:grpSpMk id="91" creationId="{1BEA47BE-588B-4BA1-B2C3-9B62D0664C7D}"/>
          </ac:grpSpMkLst>
        </pc:grpChg>
        <pc:cxnChg chg="mod">
          <ac:chgData name="Katerine Schifino" userId="37bb67de-9fcf-4611-888c-7e5b58184a2a" providerId="ADAL" clId="{D7BBC3CB-68AE-4307-9B5F-60512B429BF0}" dt="2022-03-23T13:32:16.708" v="1128" actId="1076"/>
          <ac:cxnSpMkLst>
            <pc:docMk/>
            <pc:sldMk cId="4241153634" sldId="2142531835"/>
            <ac:cxnSpMk id="112" creationId="{9F6B42E1-7F45-4ACB-B035-1027E777D492}"/>
          </ac:cxnSpMkLst>
        </pc:cxnChg>
        <pc:cxnChg chg="mod">
          <ac:chgData name="Katerine Schifino" userId="37bb67de-9fcf-4611-888c-7e5b58184a2a" providerId="ADAL" clId="{D7BBC3CB-68AE-4307-9B5F-60512B429BF0}" dt="2022-03-23T13:32:16.708" v="1128" actId="1076"/>
          <ac:cxnSpMkLst>
            <pc:docMk/>
            <pc:sldMk cId="4241153634" sldId="2142531835"/>
            <ac:cxnSpMk id="113" creationId="{E0021D4B-AF07-4821-BA73-EDBB70E331A1}"/>
          </ac:cxnSpMkLst>
        </pc:cxnChg>
      </pc:sldChg>
      <pc:sldChg chg="del">
        <pc:chgData name="Katerine Schifino" userId="37bb67de-9fcf-4611-888c-7e5b58184a2a" providerId="ADAL" clId="{D7BBC3CB-68AE-4307-9B5F-60512B429BF0}" dt="2022-03-22T19:32:40.737" v="324" actId="47"/>
        <pc:sldMkLst>
          <pc:docMk/>
          <pc:sldMk cId="712470240" sldId="2146846073"/>
        </pc:sldMkLst>
      </pc:sldChg>
      <pc:sldChg chg="del">
        <pc:chgData name="Katerine Schifino" userId="37bb67de-9fcf-4611-888c-7e5b58184a2a" providerId="ADAL" clId="{D7BBC3CB-68AE-4307-9B5F-60512B429BF0}" dt="2022-03-22T19:32:43.136" v="334" actId="47"/>
        <pc:sldMkLst>
          <pc:docMk/>
          <pc:sldMk cId="2751092167" sldId="2146846099"/>
        </pc:sldMkLst>
      </pc:sldChg>
      <pc:sldChg chg="del">
        <pc:chgData name="Katerine Schifino" userId="37bb67de-9fcf-4611-888c-7e5b58184a2a" providerId="ADAL" clId="{D7BBC3CB-68AE-4307-9B5F-60512B429BF0}" dt="2022-03-22T19:32:41.498" v="326" actId="47"/>
        <pc:sldMkLst>
          <pc:docMk/>
          <pc:sldMk cId="2262069821" sldId="2146846100"/>
        </pc:sldMkLst>
      </pc:sldChg>
      <pc:sldChg chg="del">
        <pc:chgData name="Katerine Schifino" userId="37bb67de-9fcf-4611-888c-7e5b58184a2a" providerId="ADAL" clId="{D7BBC3CB-68AE-4307-9B5F-60512B429BF0}" dt="2022-03-22T19:32:41.816" v="328" actId="47"/>
        <pc:sldMkLst>
          <pc:docMk/>
          <pc:sldMk cId="4050850619" sldId="2146846101"/>
        </pc:sldMkLst>
      </pc:sldChg>
      <pc:sldChg chg="del">
        <pc:chgData name="Katerine Schifino" userId="37bb67de-9fcf-4611-888c-7e5b58184a2a" providerId="ADAL" clId="{D7BBC3CB-68AE-4307-9B5F-60512B429BF0}" dt="2022-03-22T19:32:43.908" v="335" actId="47"/>
        <pc:sldMkLst>
          <pc:docMk/>
          <pc:sldMk cId="1615697151" sldId="2146846102"/>
        </pc:sldMkLst>
      </pc:sldChg>
      <pc:sldChg chg="del">
        <pc:chgData name="Katerine Schifino" userId="37bb67de-9fcf-4611-888c-7e5b58184a2a" providerId="ADAL" clId="{D7BBC3CB-68AE-4307-9B5F-60512B429BF0}" dt="2022-03-22T19:32:44.096" v="336" actId="47"/>
        <pc:sldMkLst>
          <pc:docMk/>
          <pc:sldMk cId="2320250215" sldId="2146846103"/>
        </pc:sldMkLst>
      </pc:sldChg>
      <pc:sldChg chg="addSp delSp modSp add mod ord modClrScheme chgLayout">
        <pc:chgData name="Katerine Schifino" userId="37bb67de-9fcf-4611-888c-7e5b58184a2a" providerId="ADAL" clId="{D7BBC3CB-68AE-4307-9B5F-60512B429BF0}" dt="2022-03-23T21:15:36.185" v="5035" actId="20577"/>
        <pc:sldMkLst>
          <pc:docMk/>
          <pc:sldMk cId="2367529978" sldId="2146846104"/>
        </pc:sldMkLst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2" creationId="{AD32C72C-1F96-4DFD-ADD8-EB98012F7829}"/>
          </ac:spMkLst>
        </pc:spChg>
        <pc:spChg chg="mod">
          <ac:chgData name="Katerine Schifino" userId="37bb67de-9fcf-4611-888c-7e5b58184a2a" providerId="ADAL" clId="{D7BBC3CB-68AE-4307-9B5F-60512B429BF0}" dt="2022-03-22T19:46:45.882" v="354" actId="1076"/>
          <ac:spMkLst>
            <pc:docMk/>
            <pc:sldMk cId="2367529978" sldId="2146846104"/>
            <ac:spMk id="3" creationId="{F37952A8-26A7-4620-BB6E-749B2F7FE437}"/>
          </ac:spMkLst>
        </pc:spChg>
        <pc:spChg chg="mod">
          <ac:chgData name="Katerine Schifino" userId="37bb67de-9fcf-4611-888c-7e5b58184a2a" providerId="ADAL" clId="{D7BBC3CB-68AE-4307-9B5F-60512B429BF0}" dt="2022-03-23T21:15:36.185" v="5035" actId="20577"/>
          <ac:spMkLst>
            <pc:docMk/>
            <pc:sldMk cId="2367529978" sldId="2146846104"/>
            <ac:spMk id="4" creationId="{CD3B507D-B343-498F-97D5-78CBF4589AAB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7" creationId="{FA6EFE21-4F3A-45B5-ABF0-093745D6274C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8" creationId="{F03B8265-C3FC-49AD-B22E-50F543F8AA49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9" creationId="{9A1983EF-D4FF-46B1-8440-DF33A25B17E4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10" creationId="{87810E87-F3A4-403D-9665-3B3290A9623E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11" creationId="{2D70ED3A-26F9-4DA8-83EB-F7904304F66B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12" creationId="{8F9F3F36-EB7E-435E-8B73-D6819A0E0E16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13" creationId="{76396A78-CA3F-4CB5-B0C1-0088D495A014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17" creationId="{2C52C0E2-7615-47CE-9329-55869F51964D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18" creationId="{0688AE72-9DCC-4D78-AD8E-FC32C6BE67FF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19" creationId="{2B3082CB-7F63-49CF-9FB3-111A055648DD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20" creationId="{8160494A-B5A6-4F23-827C-054E6D44097C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21" creationId="{6091546B-A0F7-4E1D-B868-656797AE017A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22" creationId="{F8F8F633-3053-46E3-A104-33F46481EC99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23" creationId="{F54CC053-6EF7-4F0A-AD79-3D85E55AFAD9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38" creationId="{1E939950-55B8-442A-9079-1DDA326A7D4B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39" creationId="{BBB8749C-1D72-409B-B6AF-931B6A0B45ED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0" creationId="{23DAAC81-4A3D-44E0-B37F-80D55820568E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1" creationId="{B5659BD7-1C2C-447C-AC45-8AC1F3767E48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2" creationId="{2F9652C3-5AB4-4579-81DB-F9040EEE4957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3" creationId="{8216E04F-408F-4C70-BDDE-E32240252A8D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4" creationId="{5B993871-DC36-45AD-AD77-916488C213CD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5" creationId="{06412CEB-8FA2-46AD-90B7-5E5F63F9468C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6" creationId="{5030D191-BACA-494F-8B6E-8AFD48AB9AE9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7" creationId="{B4179A8D-F4B6-445E-9808-C7E1ED35EAB3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8" creationId="{07B02A96-9255-45C9-91C9-E1979E87741B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49" creationId="{FB00FE5E-1D9D-4161-9518-B5CEF7942421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50" creationId="{2EE506AC-6F01-46A4-86EF-2CA8B79507E5}"/>
          </ac:spMkLst>
        </pc:spChg>
        <pc:spChg chg="mod topLvl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51" creationId="{1D9BBDEB-221C-4741-9979-C335EE48F38E}"/>
          </ac:spMkLst>
        </pc:spChg>
        <pc:spChg chg="mod">
          <ac:chgData name="Katerine Schifino" userId="37bb67de-9fcf-4611-888c-7e5b58184a2a" providerId="ADAL" clId="{D7BBC3CB-68AE-4307-9B5F-60512B429BF0}" dt="2022-03-22T19:46:39.702" v="352" actId="14100"/>
          <ac:spMkLst>
            <pc:docMk/>
            <pc:sldMk cId="2367529978" sldId="2146846104"/>
            <ac:spMk id="55" creationId="{693BE602-C9B4-412A-8447-FDCBB931768E}"/>
          </ac:spMkLst>
        </pc:spChg>
        <pc:spChg chg="add mod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57" creationId="{394B82F5-6724-4183-9488-81BFE10400DC}"/>
          </ac:spMkLst>
        </pc:spChg>
        <pc:spChg chg="add mod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58" creationId="{7091F8FD-E5CD-4924-8378-3090192AC734}"/>
          </ac:spMkLst>
        </pc:spChg>
        <pc:spChg chg="add mod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59" creationId="{0DB6A865-BE08-424A-8AF5-34133796AE9C}"/>
          </ac:spMkLst>
        </pc:spChg>
        <pc:spChg chg="add mod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60" creationId="{EC5A07DF-6C84-4BEF-99DD-7DA3EA2EF92E}"/>
          </ac:spMkLst>
        </pc:spChg>
        <pc:spChg chg="add mod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61" creationId="{9E77B2A4-B4C4-4390-B8A5-64BC26B59ED0}"/>
          </ac:spMkLst>
        </pc:spChg>
        <pc:spChg chg="add mod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62" creationId="{597EDDF8-FA18-450F-865A-640AB7C32852}"/>
          </ac:spMkLst>
        </pc:spChg>
        <pc:spChg chg="add mod">
          <ac:chgData name="Katerine Schifino" userId="37bb67de-9fcf-4611-888c-7e5b58184a2a" providerId="ADAL" clId="{D7BBC3CB-68AE-4307-9B5F-60512B429BF0}" dt="2022-03-22T19:48:57.117" v="453" actId="164"/>
          <ac:spMkLst>
            <pc:docMk/>
            <pc:sldMk cId="2367529978" sldId="2146846104"/>
            <ac:spMk id="63" creationId="{39179F78-4E61-42BC-9B92-CDB193E490A5}"/>
          </ac:spMkLst>
        </pc:spChg>
        <pc:grpChg chg="add mod">
          <ac:chgData name="Katerine Schifino" userId="37bb67de-9fcf-4611-888c-7e5b58184a2a" providerId="ADAL" clId="{D7BBC3CB-68AE-4307-9B5F-60512B429BF0}" dt="2022-03-22T19:48:57.117" v="453" actId="164"/>
          <ac:grpSpMkLst>
            <pc:docMk/>
            <pc:sldMk cId="2367529978" sldId="2146846104"/>
            <ac:grpSpMk id="6" creationId="{261DB4A7-4C07-46D7-916D-B61EDC194383}"/>
          </ac:grpSpMkLst>
        </pc:grpChg>
        <pc:grpChg chg="mod">
          <ac:chgData name="Katerine Schifino" userId="37bb67de-9fcf-4611-888c-7e5b58184a2a" providerId="ADAL" clId="{D7BBC3CB-68AE-4307-9B5F-60512B429BF0}" dt="2022-03-22T19:47:12.748" v="360" actId="1076"/>
          <ac:grpSpMkLst>
            <pc:docMk/>
            <pc:sldMk cId="2367529978" sldId="2146846104"/>
            <ac:grpSpMk id="54" creationId="{C8CACEA6-0212-4EFD-B253-05AA389E4D94}"/>
          </ac:grpSpMkLst>
        </pc:grpChg>
        <pc:grpChg chg="del mod">
          <ac:chgData name="Katerine Schifino" userId="37bb67de-9fcf-4611-888c-7e5b58184a2a" providerId="ADAL" clId="{D7BBC3CB-68AE-4307-9B5F-60512B429BF0}" dt="2022-03-22T19:47:48.501" v="364" actId="165"/>
          <ac:grpSpMkLst>
            <pc:docMk/>
            <pc:sldMk cId="2367529978" sldId="2146846104"/>
            <ac:grpSpMk id="56" creationId="{28F61522-AC2E-485A-AF45-90E1FF06D661}"/>
          </ac:grpSpMkLst>
        </pc:grpChg>
        <pc:cxnChg chg="mod topLvl">
          <ac:chgData name="Katerine Schifino" userId="37bb67de-9fcf-4611-888c-7e5b58184a2a" providerId="ADAL" clId="{D7BBC3CB-68AE-4307-9B5F-60512B429BF0}" dt="2022-03-22T19:48:57.117" v="453" actId="164"/>
          <ac:cxnSpMkLst>
            <pc:docMk/>
            <pc:sldMk cId="2367529978" sldId="2146846104"/>
            <ac:cxnSpMk id="5" creationId="{ACEDF268-4996-47AC-95A1-EA61D6813161}"/>
          </ac:cxnSpMkLst>
        </pc:cxnChg>
        <pc:cxnChg chg="mod topLvl">
          <ac:chgData name="Katerine Schifino" userId="37bb67de-9fcf-4611-888c-7e5b58184a2a" providerId="ADAL" clId="{D7BBC3CB-68AE-4307-9B5F-60512B429BF0}" dt="2022-03-22T19:48:57.117" v="453" actId="164"/>
          <ac:cxnSpMkLst>
            <pc:docMk/>
            <pc:sldMk cId="2367529978" sldId="2146846104"/>
            <ac:cxnSpMk id="15" creationId="{2B59B27D-9096-42AE-B478-2CFA7B8AD322}"/>
          </ac:cxnSpMkLst>
        </pc:cxnChg>
        <pc:cxnChg chg="mod topLvl">
          <ac:chgData name="Katerine Schifino" userId="37bb67de-9fcf-4611-888c-7e5b58184a2a" providerId="ADAL" clId="{D7BBC3CB-68AE-4307-9B5F-60512B429BF0}" dt="2022-03-22T19:48:57.117" v="453" actId="164"/>
          <ac:cxnSpMkLst>
            <pc:docMk/>
            <pc:sldMk cId="2367529978" sldId="2146846104"/>
            <ac:cxnSpMk id="16" creationId="{753FC988-99A2-4060-9A3F-ABDDCB249FC2}"/>
          </ac:cxnSpMkLst>
        </pc:cxnChg>
      </pc:sldChg>
      <pc:sldChg chg="addSp delSp modSp add mod modClrScheme chgLayout">
        <pc:chgData name="Katerine Schifino" userId="37bb67de-9fcf-4611-888c-7e5b58184a2a" providerId="ADAL" clId="{D7BBC3CB-68AE-4307-9B5F-60512B429BF0}" dt="2022-03-23T23:42:22.824" v="9519" actId="108"/>
        <pc:sldMkLst>
          <pc:docMk/>
          <pc:sldMk cId="1468592198" sldId="2146846105"/>
        </pc:sldMkLst>
        <pc:spChg chg="mod">
          <ac:chgData name="Katerine Schifino" userId="37bb67de-9fcf-4611-888c-7e5b58184a2a" providerId="ADAL" clId="{D7BBC3CB-68AE-4307-9B5F-60512B429BF0}" dt="2022-03-23T16:32:45.663" v="2544" actId="403"/>
          <ac:spMkLst>
            <pc:docMk/>
            <pc:sldMk cId="1468592198" sldId="2146846105"/>
            <ac:spMk id="5" creationId="{9EDBD20C-0B84-4943-BD69-E6C88D054D63}"/>
          </ac:spMkLst>
        </pc:spChg>
        <pc:spChg chg="del mod">
          <ac:chgData name="Katerine Schifino" userId="37bb67de-9fcf-4611-888c-7e5b58184a2a" providerId="ADAL" clId="{D7BBC3CB-68AE-4307-9B5F-60512B429BF0}" dt="2022-03-23T16:23:39.301" v="2448"/>
          <ac:spMkLst>
            <pc:docMk/>
            <pc:sldMk cId="1468592198" sldId="2146846105"/>
            <ac:spMk id="8" creationId="{3FDA7948-2F5A-4208-BA8B-40B68DC4FCE1}"/>
          </ac:spMkLst>
        </pc:spChg>
        <pc:spChg chg="add mod">
          <ac:chgData name="Katerine Schifino" userId="37bb67de-9fcf-4611-888c-7e5b58184a2a" providerId="ADAL" clId="{D7BBC3CB-68AE-4307-9B5F-60512B429BF0}" dt="2022-03-23T23:42:22.824" v="9519" actId="108"/>
          <ac:spMkLst>
            <pc:docMk/>
            <pc:sldMk cId="1468592198" sldId="2146846105"/>
            <ac:spMk id="9" creationId="{992DD17F-9D39-4C72-8679-AA972FC92653}"/>
          </ac:spMkLst>
        </pc:spChg>
        <pc:spChg chg="add del mod">
          <ac:chgData name="Katerine Schifino" userId="37bb67de-9fcf-4611-888c-7e5b58184a2a" providerId="ADAL" clId="{D7BBC3CB-68AE-4307-9B5F-60512B429BF0}" dt="2022-03-23T21:16:13.085" v="5038" actId="478"/>
          <ac:spMkLst>
            <pc:docMk/>
            <pc:sldMk cId="1468592198" sldId="2146846105"/>
            <ac:spMk id="10" creationId="{F773CDFD-9A40-44A2-8E3B-32943A915C16}"/>
          </ac:spMkLst>
        </pc:spChg>
        <pc:picChg chg="mod">
          <ac:chgData name="Katerine Schifino" userId="37bb67de-9fcf-4611-888c-7e5b58184a2a" providerId="ADAL" clId="{D7BBC3CB-68AE-4307-9B5F-60512B429BF0}" dt="2022-03-23T16:32:52.202" v="2545" actId="1076"/>
          <ac:picMkLst>
            <pc:docMk/>
            <pc:sldMk cId="1468592198" sldId="2146846105"/>
            <ac:picMk id="1026" creationId="{60C57D08-DD19-418A-B5ED-A1A7CDF7FEBF}"/>
          </ac:picMkLst>
        </pc:picChg>
      </pc:sldChg>
      <pc:sldChg chg="del">
        <pc:chgData name="Katerine Schifino" userId="37bb67de-9fcf-4611-888c-7e5b58184a2a" providerId="ADAL" clId="{D7BBC3CB-68AE-4307-9B5F-60512B429BF0}" dt="2022-03-22T19:32:41.306" v="325" actId="47"/>
        <pc:sldMkLst>
          <pc:docMk/>
          <pc:sldMk cId="3668654054" sldId="2146846107"/>
        </pc:sldMkLst>
      </pc:sldChg>
      <pc:sldChg chg="addSp delSp modSp add mod ord modClrScheme modAnim chgLayout">
        <pc:chgData name="Katerine Schifino" userId="37bb67de-9fcf-4611-888c-7e5b58184a2a" providerId="ADAL" clId="{D7BBC3CB-68AE-4307-9B5F-60512B429BF0}" dt="2022-03-23T20:42:51.772" v="4332" actId="478"/>
        <pc:sldMkLst>
          <pc:docMk/>
          <pc:sldMk cId="180394613" sldId="2146846108"/>
        </pc:sldMkLst>
        <pc:spChg chg="add del mod">
          <ac:chgData name="Katerine Schifino" userId="37bb67de-9fcf-4611-888c-7e5b58184a2a" providerId="ADAL" clId="{D7BBC3CB-68AE-4307-9B5F-60512B429BF0}" dt="2022-03-23T13:16:14.033" v="478" actId="478"/>
          <ac:spMkLst>
            <pc:docMk/>
            <pc:sldMk cId="180394613" sldId="2146846108"/>
            <ac:spMk id="2" creationId="{D6023ED0-7B56-4284-A0C2-3637347361D2}"/>
          </ac:spMkLst>
        </pc:spChg>
        <pc:spChg chg="add mod">
          <ac:chgData name="Katerine Schifino" userId="37bb67de-9fcf-4611-888c-7e5b58184a2a" providerId="ADAL" clId="{D7BBC3CB-68AE-4307-9B5F-60512B429BF0}" dt="2022-03-23T14:10:23.311" v="1696" actId="20577"/>
          <ac:spMkLst>
            <pc:docMk/>
            <pc:sldMk cId="180394613" sldId="2146846108"/>
            <ac:spMk id="6" creationId="{84AB6011-3C49-4817-B444-68EF20398F2D}"/>
          </ac:spMkLst>
        </pc:spChg>
        <pc:spChg chg="mod topLvl">
          <ac:chgData name="Katerine Schifino" userId="37bb67de-9fcf-4611-888c-7e5b58184a2a" providerId="ADAL" clId="{D7BBC3CB-68AE-4307-9B5F-60512B429BF0}" dt="2022-03-23T14:09:58.381" v="1693" actId="478"/>
          <ac:spMkLst>
            <pc:docMk/>
            <pc:sldMk cId="180394613" sldId="2146846108"/>
            <ac:spMk id="8" creationId="{6FF53123-AD0B-443A-861E-15AF694E06FD}"/>
          </ac:spMkLst>
        </pc:spChg>
        <pc:spChg chg="del mod topLvl">
          <ac:chgData name="Katerine Schifino" userId="37bb67de-9fcf-4611-888c-7e5b58184a2a" providerId="ADAL" clId="{D7BBC3CB-68AE-4307-9B5F-60512B429BF0}" dt="2022-03-23T14:09:58.381" v="1693" actId="478"/>
          <ac:spMkLst>
            <pc:docMk/>
            <pc:sldMk cId="180394613" sldId="2146846108"/>
            <ac:spMk id="9" creationId="{05107EB8-6C49-43E4-A893-CA8B4C4BD34A}"/>
          </ac:spMkLst>
        </pc:spChg>
        <pc:spChg chg="add mod">
          <ac:chgData name="Katerine Schifino" userId="37bb67de-9fcf-4611-888c-7e5b58184a2a" providerId="ADAL" clId="{D7BBC3CB-68AE-4307-9B5F-60512B429BF0}" dt="2022-03-23T14:10:01.839" v="1694" actId="164"/>
          <ac:spMkLst>
            <pc:docMk/>
            <pc:sldMk cId="180394613" sldId="2146846108"/>
            <ac:spMk id="13" creationId="{569CA870-1CD5-45B1-A013-B3786E164D90}"/>
          </ac:spMkLst>
        </pc:spChg>
        <pc:spChg chg="add mod">
          <ac:chgData name="Katerine Schifino" userId="37bb67de-9fcf-4611-888c-7e5b58184a2a" providerId="ADAL" clId="{D7BBC3CB-68AE-4307-9B5F-60512B429BF0}" dt="2022-03-23T14:10:01.839" v="1694" actId="164"/>
          <ac:spMkLst>
            <pc:docMk/>
            <pc:sldMk cId="180394613" sldId="2146846108"/>
            <ac:spMk id="14" creationId="{1F37DF61-B666-4446-9AE9-55C4F3220A33}"/>
          </ac:spMkLst>
        </pc:spChg>
        <pc:spChg chg="add mod">
          <ac:chgData name="Katerine Schifino" userId="37bb67de-9fcf-4611-888c-7e5b58184a2a" providerId="ADAL" clId="{D7BBC3CB-68AE-4307-9B5F-60512B429BF0}" dt="2022-03-23T14:10:01.839" v="1694" actId="164"/>
          <ac:spMkLst>
            <pc:docMk/>
            <pc:sldMk cId="180394613" sldId="2146846108"/>
            <ac:spMk id="15" creationId="{2D0C921B-99E8-4859-AD98-7EBA25C55F19}"/>
          </ac:spMkLst>
        </pc:spChg>
        <pc:spChg chg="add mod">
          <ac:chgData name="Katerine Schifino" userId="37bb67de-9fcf-4611-888c-7e5b58184a2a" providerId="ADAL" clId="{D7BBC3CB-68AE-4307-9B5F-60512B429BF0}" dt="2022-03-23T14:10:01.839" v="1694" actId="164"/>
          <ac:spMkLst>
            <pc:docMk/>
            <pc:sldMk cId="180394613" sldId="2146846108"/>
            <ac:spMk id="16" creationId="{E8535E27-E885-4E57-835A-EBE70E1E4687}"/>
          </ac:spMkLst>
        </pc:spChg>
        <pc:spChg chg="add mod">
          <ac:chgData name="Katerine Schifino" userId="37bb67de-9fcf-4611-888c-7e5b58184a2a" providerId="ADAL" clId="{D7BBC3CB-68AE-4307-9B5F-60512B429BF0}" dt="2022-03-23T15:22:14.789" v="1778" actId="207"/>
          <ac:spMkLst>
            <pc:docMk/>
            <pc:sldMk cId="180394613" sldId="2146846108"/>
            <ac:spMk id="19" creationId="{80B56962-93BA-4EF8-8C79-51FE2E280B12}"/>
          </ac:spMkLst>
        </pc:spChg>
        <pc:spChg chg="add mod ord">
          <ac:chgData name="Katerine Schifino" userId="37bb67de-9fcf-4611-888c-7e5b58184a2a" providerId="ADAL" clId="{D7BBC3CB-68AE-4307-9B5F-60512B429BF0}" dt="2022-03-23T15:22:15.164" v="1779" actId="207"/>
          <ac:spMkLst>
            <pc:docMk/>
            <pc:sldMk cId="180394613" sldId="2146846108"/>
            <ac:spMk id="20" creationId="{C7CFD88E-5E79-400B-8C7F-79B0576C036E}"/>
          </ac:spMkLst>
        </pc:spChg>
        <pc:spChg chg="add mod">
          <ac:chgData name="Katerine Schifino" userId="37bb67de-9fcf-4611-888c-7e5b58184a2a" providerId="ADAL" clId="{D7BBC3CB-68AE-4307-9B5F-60512B429BF0}" dt="2022-03-23T15:22:02.006" v="1775" actId="207"/>
          <ac:spMkLst>
            <pc:docMk/>
            <pc:sldMk cId="180394613" sldId="2146846108"/>
            <ac:spMk id="21" creationId="{00B85319-09AA-4528-85B5-6D1546F938E9}"/>
          </ac:spMkLst>
        </pc:spChg>
        <pc:spChg chg="add del mod ord">
          <ac:chgData name="Katerine Schifino" userId="37bb67de-9fcf-4611-888c-7e5b58184a2a" providerId="ADAL" clId="{D7BBC3CB-68AE-4307-9B5F-60512B429BF0}" dt="2022-03-23T15:36:19.975" v="2030"/>
          <ac:spMkLst>
            <pc:docMk/>
            <pc:sldMk cId="180394613" sldId="2146846108"/>
            <ac:spMk id="23" creationId="{5D69FBFD-DA18-4649-ADF3-02B66EFA95D7}"/>
          </ac:spMkLst>
        </pc:spChg>
        <pc:spChg chg="add del mod">
          <ac:chgData name="Katerine Schifino" userId="37bb67de-9fcf-4611-888c-7e5b58184a2a" providerId="ADAL" clId="{D7BBC3CB-68AE-4307-9B5F-60512B429BF0}" dt="2022-03-23T15:36:58.506" v="2044" actId="478"/>
          <ac:spMkLst>
            <pc:docMk/>
            <pc:sldMk cId="180394613" sldId="2146846108"/>
            <ac:spMk id="24" creationId="{DAEB18A0-08C7-4F4A-A36F-ED74430046D8}"/>
          </ac:spMkLst>
        </pc:spChg>
        <pc:spChg chg="add mod">
          <ac:chgData name="Katerine Schifino" userId="37bb67de-9fcf-4611-888c-7e5b58184a2a" providerId="ADAL" clId="{D7BBC3CB-68AE-4307-9B5F-60512B429BF0}" dt="2022-03-23T15:43:24.560" v="2095" actId="14100"/>
          <ac:spMkLst>
            <pc:docMk/>
            <pc:sldMk cId="180394613" sldId="2146846108"/>
            <ac:spMk id="25" creationId="{D360DB5E-F9D8-417D-AB24-D6DC5E9C848E}"/>
          </ac:spMkLst>
        </pc:spChg>
        <pc:spChg chg="add mod">
          <ac:chgData name="Katerine Schifino" userId="37bb67de-9fcf-4611-888c-7e5b58184a2a" providerId="ADAL" clId="{D7BBC3CB-68AE-4307-9B5F-60512B429BF0}" dt="2022-03-23T15:28:11.106" v="1947" actId="164"/>
          <ac:spMkLst>
            <pc:docMk/>
            <pc:sldMk cId="180394613" sldId="2146846108"/>
            <ac:spMk id="26" creationId="{3923B30F-9C3B-4C14-962B-E705E78081F5}"/>
          </ac:spMkLst>
        </pc:spChg>
        <pc:spChg chg="add mod">
          <ac:chgData name="Katerine Schifino" userId="37bb67de-9fcf-4611-888c-7e5b58184a2a" providerId="ADAL" clId="{D7BBC3CB-68AE-4307-9B5F-60512B429BF0}" dt="2022-03-23T15:28:11.106" v="1947" actId="164"/>
          <ac:spMkLst>
            <pc:docMk/>
            <pc:sldMk cId="180394613" sldId="2146846108"/>
            <ac:spMk id="27" creationId="{F118B792-A34F-4857-862C-7A2BEA858D5D}"/>
          </ac:spMkLst>
        </pc:spChg>
        <pc:spChg chg="add mod">
          <ac:chgData name="Katerine Schifino" userId="37bb67de-9fcf-4611-888c-7e5b58184a2a" providerId="ADAL" clId="{D7BBC3CB-68AE-4307-9B5F-60512B429BF0}" dt="2022-03-23T15:28:11.106" v="1947" actId="164"/>
          <ac:spMkLst>
            <pc:docMk/>
            <pc:sldMk cId="180394613" sldId="2146846108"/>
            <ac:spMk id="28" creationId="{6D7D4940-40F7-4B6A-B535-C05D10E2CEE3}"/>
          </ac:spMkLst>
        </pc:spChg>
        <pc:spChg chg="add del mod">
          <ac:chgData name="Katerine Schifino" userId="37bb67de-9fcf-4611-888c-7e5b58184a2a" providerId="ADAL" clId="{D7BBC3CB-68AE-4307-9B5F-60512B429BF0}" dt="2022-03-23T15:29:07.434" v="1951"/>
          <ac:spMkLst>
            <pc:docMk/>
            <pc:sldMk cId="180394613" sldId="2146846108"/>
            <ac:spMk id="30" creationId="{38335F42-05FC-426F-B2D4-8B81611734E9}"/>
          </ac:spMkLst>
        </pc:spChg>
        <pc:spChg chg="add del mod">
          <ac:chgData name="Katerine Schifino" userId="37bb67de-9fcf-4611-888c-7e5b58184a2a" providerId="ADAL" clId="{D7BBC3CB-68AE-4307-9B5F-60512B429BF0}" dt="2022-03-23T15:30:00.497" v="1978" actId="478"/>
          <ac:spMkLst>
            <pc:docMk/>
            <pc:sldMk cId="180394613" sldId="2146846108"/>
            <ac:spMk id="31" creationId="{89516480-C8B4-4CBE-BFFE-29350C7FDFDA}"/>
          </ac:spMkLst>
        </pc:spChg>
        <pc:spChg chg="add del mod">
          <ac:chgData name="Katerine Schifino" userId="37bb67de-9fcf-4611-888c-7e5b58184a2a" providerId="ADAL" clId="{D7BBC3CB-68AE-4307-9B5F-60512B429BF0}" dt="2022-03-23T15:31:47.714" v="1990" actId="478"/>
          <ac:spMkLst>
            <pc:docMk/>
            <pc:sldMk cId="180394613" sldId="2146846108"/>
            <ac:spMk id="32" creationId="{BF4118B0-AEAD-4FD8-B5F2-F1FCCB237EA0}"/>
          </ac:spMkLst>
        </pc:spChg>
        <pc:spChg chg="add mod">
          <ac:chgData name="Katerine Schifino" userId="37bb67de-9fcf-4611-888c-7e5b58184a2a" providerId="ADAL" clId="{D7BBC3CB-68AE-4307-9B5F-60512B429BF0}" dt="2022-03-23T15:43:34.658" v="2098" actId="14100"/>
          <ac:spMkLst>
            <pc:docMk/>
            <pc:sldMk cId="180394613" sldId="2146846108"/>
            <ac:spMk id="33" creationId="{D2F9D194-34AD-447F-9AFF-95ED49E413D2}"/>
          </ac:spMkLst>
        </pc:spChg>
        <pc:spChg chg="add mod">
          <ac:chgData name="Katerine Schifino" userId="37bb67de-9fcf-4611-888c-7e5b58184a2a" providerId="ADAL" clId="{D7BBC3CB-68AE-4307-9B5F-60512B429BF0}" dt="2022-03-23T15:43:28.327" v="2096" actId="14100"/>
          <ac:spMkLst>
            <pc:docMk/>
            <pc:sldMk cId="180394613" sldId="2146846108"/>
            <ac:spMk id="34" creationId="{DD1A033C-A83C-426B-867C-E517E09DE1EA}"/>
          </ac:spMkLst>
        </pc:spChg>
        <pc:spChg chg="add del mod">
          <ac:chgData name="Katerine Schifino" userId="37bb67de-9fcf-4611-888c-7e5b58184a2a" providerId="ADAL" clId="{D7BBC3CB-68AE-4307-9B5F-60512B429BF0}" dt="2022-03-23T20:42:51.772" v="4332" actId="478"/>
          <ac:spMkLst>
            <pc:docMk/>
            <pc:sldMk cId="180394613" sldId="2146846108"/>
            <ac:spMk id="35" creationId="{7D204074-8AE5-44A8-8672-96FE12E7D6C2}"/>
          </ac:spMkLst>
        </pc:spChg>
        <pc:spChg chg="del">
          <ac:chgData name="Katerine Schifino" userId="37bb67de-9fcf-4611-888c-7e5b58184a2a" providerId="ADAL" clId="{D7BBC3CB-68AE-4307-9B5F-60512B429BF0}" dt="2022-03-22T19:54:38.004" v="459" actId="478"/>
          <ac:spMkLst>
            <pc:docMk/>
            <pc:sldMk cId="180394613" sldId="2146846108"/>
            <ac:spMk id="57" creationId="{BD1F0C49-F465-45F3-A15F-7C674A2D8D32}"/>
          </ac:spMkLst>
        </pc:spChg>
        <pc:grpChg chg="add del mod">
          <ac:chgData name="Katerine Schifino" userId="37bb67de-9fcf-4611-888c-7e5b58184a2a" providerId="ADAL" clId="{D7BBC3CB-68AE-4307-9B5F-60512B429BF0}" dt="2022-03-23T14:14:55.567" v="1705" actId="478"/>
          <ac:grpSpMkLst>
            <pc:docMk/>
            <pc:sldMk cId="180394613" sldId="2146846108"/>
            <ac:grpSpMk id="3" creationId="{23D2C300-E26E-41F8-A6E2-ED401B81624E}"/>
          </ac:grpSpMkLst>
        </pc:grpChg>
        <pc:grpChg chg="add del mod">
          <ac:chgData name="Katerine Schifino" userId="37bb67de-9fcf-4611-888c-7e5b58184a2a" providerId="ADAL" clId="{D7BBC3CB-68AE-4307-9B5F-60512B429BF0}" dt="2022-03-23T14:09:58.381" v="1693" actId="478"/>
          <ac:grpSpMkLst>
            <pc:docMk/>
            <pc:sldMk cId="180394613" sldId="2146846108"/>
            <ac:grpSpMk id="7" creationId="{570EA472-5FDA-431F-9CC9-09ED3FBDD466}"/>
          </ac:grpSpMkLst>
        </pc:grpChg>
        <pc:grpChg chg="add del mod">
          <ac:chgData name="Katerine Schifino" userId="37bb67de-9fcf-4611-888c-7e5b58184a2a" providerId="ADAL" clId="{D7BBC3CB-68AE-4307-9B5F-60512B429BF0}" dt="2022-03-23T15:26:41.578" v="1915" actId="478"/>
          <ac:grpSpMkLst>
            <pc:docMk/>
            <pc:sldMk cId="180394613" sldId="2146846108"/>
            <ac:grpSpMk id="22" creationId="{F09E190E-EB14-41EE-99EA-A47906170B63}"/>
          </ac:grpSpMkLst>
        </pc:grpChg>
        <pc:grpChg chg="add mod ord">
          <ac:chgData name="Katerine Schifino" userId="37bb67de-9fcf-4611-888c-7e5b58184a2a" providerId="ADAL" clId="{D7BBC3CB-68AE-4307-9B5F-60512B429BF0}" dt="2022-03-23T15:42:13.580" v="2081" actId="167"/>
          <ac:grpSpMkLst>
            <pc:docMk/>
            <pc:sldMk cId="180394613" sldId="2146846108"/>
            <ac:grpSpMk id="29" creationId="{C9B60F2C-1DBB-4E69-AFE5-67A9C06B64EB}"/>
          </ac:grpSpMkLst>
        </pc:grpChg>
        <pc:picChg chg="add mod">
          <ac:chgData name="Katerine Schifino" userId="37bb67de-9fcf-4611-888c-7e5b58184a2a" providerId="ADAL" clId="{D7BBC3CB-68AE-4307-9B5F-60512B429BF0}" dt="2022-03-23T14:10:01.839" v="1694" actId="164"/>
          <ac:picMkLst>
            <pc:docMk/>
            <pc:sldMk cId="180394613" sldId="2146846108"/>
            <ac:picMk id="5" creationId="{C331DE7B-5162-461A-A751-EAB41D434506}"/>
          </ac:picMkLst>
        </pc:picChg>
        <pc:picChg chg="add mod">
          <ac:chgData name="Katerine Schifino" userId="37bb67de-9fcf-4611-888c-7e5b58184a2a" providerId="ADAL" clId="{D7BBC3CB-68AE-4307-9B5F-60512B429BF0}" dt="2022-03-23T14:10:01.839" v="1694" actId="164"/>
          <ac:picMkLst>
            <pc:docMk/>
            <pc:sldMk cId="180394613" sldId="2146846108"/>
            <ac:picMk id="10" creationId="{233D8302-4C0A-44B8-812B-C152B6AF8C8F}"/>
          </ac:picMkLst>
        </pc:picChg>
        <pc:picChg chg="add mod">
          <ac:chgData name="Katerine Schifino" userId="37bb67de-9fcf-4611-888c-7e5b58184a2a" providerId="ADAL" clId="{D7BBC3CB-68AE-4307-9B5F-60512B429BF0}" dt="2022-03-23T14:10:01.839" v="1694" actId="164"/>
          <ac:picMkLst>
            <pc:docMk/>
            <pc:sldMk cId="180394613" sldId="2146846108"/>
            <ac:picMk id="11" creationId="{399247C5-18AE-4071-BFEF-545FCA279A08}"/>
          </ac:picMkLst>
        </pc:picChg>
        <pc:picChg chg="add mod">
          <ac:chgData name="Katerine Schifino" userId="37bb67de-9fcf-4611-888c-7e5b58184a2a" providerId="ADAL" clId="{D7BBC3CB-68AE-4307-9B5F-60512B429BF0}" dt="2022-03-23T14:10:01.839" v="1694" actId="164"/>
          <ac:picMkLst>
            <pc:docMk/>
            <pc:sldMk cId="180394613" sldId="2146846108"/>
            <ac:picMk id="12" creationId="{7D37ABA2-AE63-41E9-873C-A6C71E290D96}"/>
          </ac:picMkLst>
        </pc:picChg>
        <pc:picChg chg="add mod">
          <ac:chgData name="Katerine Schifino" userId="37bb67de-9fcf-4611-888c-7e5b58184a2a" providerId="ADAL" clId="{D7BBC3CB-68AE-4307-9B5F-60512B429BF0}" dt="2022-03-23T15:28:11.106" v="1947" actId="164"/>
          <ac:picMkLst>
            <pc:docMk/>
            <pc:sldMk cId="180394613" sldId="2146846108"/>
            <ac:picMk id="18" creationId="{2ADCFA31-3461-47E5-A498-BD44528403F6}"/>
          </ac:picMkLst>
        </pc:picChg>
      </pc:sldChg>
      <pc:sldChg chg="add del mod modClrScheme chgLayout">
        <pc:chgData name="Katerine Schifino" userId="37bb67de-9fcf-4611-888c-7e5b58184a2a" providerId="ADAL" clId="{D7BBC3CB-68AE-4307-9B5F-60512B429BF0}" dt="2022-03-23T14:17:01.238" v="1706" actId="2696"/>
        <pc:sldMkLst>
          <pc:docMk/>
          <pc:sldMk cId="2030110827" sldId="2146846109"/>
        </pc:sldMkLst>
      </pc:sldChg>
      <pc:sldChg chg="add del">
        <pc:chgData name="Katerine Schifino" userId="37bb67de-9fcf-4611-888c-7e5b58184a2a" providerId="ADAL" clId="{D7BBC3CB-68AE-4307-9B5F-60512B429BF0}" dt="2022-03-23T21:01:14.893" v="4892" actId="2696"/>
        <pc:sldMkLst>
          <pc:docMk/>
          <pc:sldMk cId="2376429038" sldId="2146846109"/>
        </pc:sldMkLst>
      </pc:sldChg>
      <pc:sldChg chg="del">
        <pc:chgData name="Katerine Schifino" userId="37bb67de-9fcf-4611-888c-7e5b58184a2a" providerId="ADAL" clId="{D7BBC3CB-68AE-4307-9B5F-60512B429BF0}" dt="2022-03-22T19:32:42.001" v="329" actId="47"/>
        <pc:sldMkLst>
          <pc:docMk/>
          <pc:sldMk cId="1006897491" sldId="2146846110"/>
        </pc:sldMkLst>
      </pc:sldChg>
      <pc:sldChg chg="del">
        <pc:chgData name="Katerine Schifino" userId="37bb67de-9fcf-4611-888c-7e5b58184a2a" providerId="ADAL" clId="{D7BBC3CB-68AE-4307-9B5F-60512B429BF0}" dt="2022-03-22T19:32:41.689" v="327" actId="47"/>
        <pc:sldMkLst>
          <pc:docMk/>
          <pc:sldMk cId="3104619810" sldId="2146846111"/>
        </pc:sldMkLst>
      </pc:sldChg>
      <pc:sldChg chg="addSp delSp modSp add mod modClrScheme chgLayout">
        <pc:chgData name="Katerine Schifino" userId="37bb67de-9fcf-4611-888c-7e5b58184a2a" providerId="ADAL" clId="{D7BBC3CB-68AE-4307-9B5F-60512B429BF0}" dt="2022-03-23T23:51:51.814" v="9533" actId="1076"/>
        <pc:sldMkLst>
          <pc:docMk/>
          <pc:sldMk cId="1307543664" sldId="2146846112"/>
        </pc:sldMkLst>
        <pc:spChg chg="add mod">
          <ac:chgData name="Katerine Schifino" userId="37bb67de-9fcf-4611-888c-7e5b58184a2a" providerId="ADAL" clId="{D7BBC3CB-68AE-4307-9B5F-60512B429BF0}" dt="2022-03-23T20:13:16.050" v="3374" actId="2711"/>
          <ac:spMkLst>
            <pc:docMk/>
            <pc:sldMk cId="1307543664" sldId="2146846112"/>
            <ac:spMk id="2" creationId="{BA8D1744-2C2A-42E6-897D-CA1678250CEE}"/>
          </ac:spMkLst>
        </pc:spChg>
        <pc:spChg chg="add mod">
          <ac:chgData name="Katerine Schifino" userId="37bb67de-9fcf-4611-888c-7e5b58184a2a" providerId="ADAL" clId="{D7BBC3CB-68AE-4307-9B5F-60512B429BF0}" dt="2022-03-23T20:22:00.337" v="3548" actId="790"/>
          <ac:spMkLst>
            <pc:docMk/>
            <pc:sldMk cId="1307543664" sldId="2146846112"/>
            <ac:spMk id="5" creationId="{0F4C1CAE-19B6-4AD0-825E-8BC2C396345E}"/>
          </ac:spMkLst>
        </pc:spChg>
        <pc:spChg chg="mod">
          <ac:chgData name="Katerine Schifino" userId="37bb67de-9fcf-4611-888c-7e5b58184a2a" providerId="ADAL" clId="{D7BBC3CB-68AE-4307-9B5F-60512B429BF0}" dt="2022-03-23T23:51:49.409" v="9532" actId="6549"/>
          <ac:spMkLst>
            <pc:docMk/>
            <pc:sldMk cId="1307543664" sldId="2146846112"/>
            <ac:spMk id="6" creationId="{112348B3-0062-49E3-BCA2-B30B6A7D3857}"/>
          </ac:spMkLst>
        </pc:spChg>
        <pc:spChg chg="add mod">
          <ac:chgData name="Katerine Schifino" userId="37bb67de-9fcf-4611-888c-7e5b58184a2a" providerId="ADAL" clId="{D7BBC3CB-68AE-4307-9B5F-60512B429BF0}" dt="2022-03-23T20:18:34.669" v="3403" actId="20577"/>
          <ac:spMkLst>
            <pc:docMk/>
            <pc:sldMk cId="1307543664" sldId="2146846112"/>
            <ac:spMk id="7" creationId="{E6265E5E-BA69-45E9-8D97-A532AF708C28}"/>
          </ac:spMkLst>
        </pc:spChg>
        <pc:spChg chg="add mod ord">
          <ac:chgData name="Katerine Schifino" userId="37bb67de-9fcf-4611-888c-7e5b58184a2a" providerId="ADAL" clId="{D7BBC3CB-68AE-4307-9B5F-60512B429BF0}" dt="2022-03-23T20:13:16.050" v="3374" actId="2711"/>
          <ac:spMkLst>
            <pc:docMk/>
            <pc:sldMk cId="1307543664" sldId="2146846112"/>
            <ac:spMk id="8" creationId="{967E32A8-5524-49E4-83E0-F33EAF28F0A8}"/>
          </ac:spMkLst>
        </pc:spChg>
        <pc:spChg chg="add mod">
          <ac:chgData name="Katerine Schifino" userId="37bb67de-9fcf-4611-888c-7e5b58184a2a" providerId="ADAL" clId="{D7BBC3CB-68AE-4307-9B5F-60512B429BF0}" dt="2022-03-23T20:13:24.270" v="3375" actId="2711"/>
          <ac:spMkLst>
            <pc:docMk/>
            <pc:sldMk cId="1307543664" sldId="2146846112"/>
            <ac:spMk id="9" creationId="{BBE35009-B541-4F9F-AD08-F0764201CA5B}"/>
          </ac:spMkLst>
        </pc:spChg>
        <pc:spChg chg="add mod">
          <ac:chgData name="Katerine Schifino" userId="37bb67de-9fcf-4611-888c-7e5b58184a2a" providerId="ADAL" clId="{D7BBC3CB-68AE-4307-9B5F-60512B429BF0}" dt="2022-03-23T20:18:42.033" v="3404" actId="20577"/>
          <ac:spMkLst>
            <pc:docMk/>
            <pc:sldMk cId="1307543664" sldId="2146846112"/>
            <ac:spMk id="10" creationId="{BE4895E5-5E27-47E3-AF41-09DBFE19BFCD}"/>
          </ac:spMkLst>
        </pc:spChg>
        <pc:spChg chg="add mod">
          <ac:chgData name="Katerine Schifino" userId="37bb67de-9fcf-4611-888c-7e5b58184a2a" providerId="ADAL" clId="{D7BBC3CB-68AE-4307-9B5F-60512B429BF0}" dt="2022-03-23T16:21:11.039" v="2425" actId="14100"/>
          <ac:spMkLst>
            <pc:docMk/>
            <pc:sldMk cId="1307543664" sldId="2146846112"/>
            <ac:spMk id="11" creationId="{85D66A7E-C86A-4F18-856E-648B7413245D}"/>
          </ac:spMkLst>
        </pc:spChg>
        <pc:spChg chg="add mod ord">
          <ac:chgData name="Katerine Schifino" userId="37bb67de-9fcf-4611-888c-7e5b58184a2a" providerId="ADAL" clId="{D7BBC3CB-68AE-4307-9B5F-60512B429BF0}" dt="2022-03-23T16:20:24.231" v="2417" actId="167"/>
          <ac:spMkLst>
            <pc:docMk/>
            <pc:sldMk cId="1307543664" sldId="2146846112"/>
            <ac:spMk id="12" creationId="{433B70E4-8C5D-4363-B7CB-DF3718BA2CBF}"/>
          </ac:spMkLst>
        </pc:spChg>
        <pc:spChg chg="add del mod">
          <ac:chgData name="Katerine Schifino" userId="37bb67de-9fcf-4611-888c-7e5b58184a2a" providerId="ADAL" clId="{D7BBC3CB-68AE-4307-9B5F-60512B429BF0}" dt="2022-03-23T20:11:11.096" v="3338" actId="478"/>
          <ac:spMkLst>
            <pc:docMk/>
            <pc:sldMk cId="1307543664" sldId="2146846112"/>
            <ac:spMk id="13" creationId="{2AE68CAE-2961-43A1-8FE0-CDD147CA209C}"/>
          </ac:spMkLst>
        </pc:spChg>
        <pc:picChg chg="mod">
          <ac:chgData name="Katerine Schifino" userId="37bb67de-9fcf-4611-888c-7e5b58184a2a" providerId="ADAL" clId="{D7BBC3CB-68AE-4307-9B5F-60512B429BF0}" dt="2022-03-23T23:51:51.814" v="9533" actId="1076"/>
          <ac:picMkLst>
            <pc:docMk/>
            <pc:sldMk cId="1307543664" sldId="2146846112"/>
            <ac:picMk id="5124" creationId="{3AF1774A-4826-4DB3-A8CA-AAEA509EEBC6}"/>
          </ac:picMkLst>
        </pc:picChg>
      </pc:sldChg>
      <pc:sldChg chg="del">
        <pc:chgData name="Katerine Schifino" userId="37bb67de-9fcf-4611-888c-7e5b58184a2a" providerId="ADAL" clId="{D7BBC3CB-68AE-4307-9B5F-60512B429BF0}" dt="2022-03-22T19:32:42.431" v="330" actId="47"/>
        <pc:sldMkLst>
          <pc:docMk/>
          <pc:sldMk cId="2291766909" sldId="2146846113"/>
        </pc:sldMkLst>
      </pc:sldChg>
      <pc:sldChg chg="del">
        <pc:chgData name="Katerine Schifino" userId="37bb67de-9fcf-4611-888c-7e5b58184a2a" providerId="ADAL" clId="{D7BBC3CB-68AE-4307-9B5F-60512B429BF0}" dt="2022-03-22T19:32:42.852" v="332" actId="47"/>
        <pc:sldMkLst>
          <pc:docMk/>
          <pc:sldMk cId="79006163" sldId="2146846114"/>
        </pc:sldMkLst>
      </pc:sldChg>
      <pc:sldChg chg="modSp mod">
        <pc:chgData name="Katerine Schifino" userId="37bb67de-9fcf-4611-888c-7e5b58184a2a" providerId="ADAL" clId="{D7BBC3CB-68AE-4307-9B5F-60512B429BF0}" dt="2022-03-24T14:24:46.172" v="9617"/>
        <pc:sldMkLst>
          <pc:docMk/>
          <pc:sldMk cId="820559724" sldId="2146846115"/>
        </pc:sldMkLst>
        <pc:graphicFrameChg chg="mod modGraphic">
          <ac:chgData name="Katerine Schifino" userId="37bb67de-9fcf-4611-888c-7e5b58184a2a" providerId="ADAL" clId="{D7BBC3CB-68AE-4307-9B5F-60512B429BF0}" dt="2022-03-24T14:24:46.172" v="9617"/>
          <ac:graphicFrameMkLst>
            <pc:docMk/>
            <pc:sldMk cId="820559724" sldId="2146846115"/>
            <ac:graphicFrameMk id="2" creationId="{DABEA71B-03AC-48AD-8E3A-F5B4F36922D0}"/>
          </ac:graphicFrameMkLst>
        </pc:graphicFrameChg>
      </pc:sldChg>
      <pc:sldChg chg="del">
        <pc:chgData name="Katerine Schifino" userId="37bb67de-9fcf-4611-888c-7e5b58184a2a" providerId="ADAL" clId="{D7BBC3CB-68AE-4307-9B5F-60512B429BF0}" dt="2022-03-22T19:32:42.711" v="331" actId="47"/>
        <pc:sldMkLst>
          <pc:docMk/>
          <pc:sldMk cId="404687484" sldId="2146846120"/>
        </pc:sldMkLst>
      </pc:sldChg>
      <pc:sldChg chg="del">
        <pc:chgData name="Katerine Schifino" userId="37bb67de-9fcf-4611-888c-7e5b58184a2a" providerId="ADAL" clId="{D7BBC3CB-68AE-4307-9B5F-60512B429BF0}" dt="2022-03-22T19:23:05.658" v="301" actId="47"/>
        <pc:sldMkLst>
          <pc:docMk/>
          <pc:sldMk cId="3572489315" sldId="2146846121"/>
        </pc:sldMkLst>
      </pc:sldChg>
      <pc:sldChg chg="del">
        <pc:chgData name="Katerine Schifino" userId="37bb67de-9fcf-4611-888c-7e5b58184a2a" providerId="ADAL" clId="{D7BBC3CB-68AE-4307-9B5F-60512B429BF0}" dt="2022-03-22T19:23:06.770" v="302" actId="47"/>
        <pc:sldMkLst>
          <pc:docMk/>
          <pc:sldMk cId="4171986206" sldId="2146846122"/>
        </pc:sldMkLst>
      </pc:sldChg>
      <pc:sldChg chg="addSp delSp modSp mod">
        <pc:chgData name="Katerine Schifino" userId="37bb67de-9fcf-4611-888c-7e5b58184a2a" providerId="ADAL" clId="{D7BBC3CB-68AE-4307-9B5F-60512B429BF0}" dt="2022-03-24T16:04:04.431" v="9643" actId="20577"/>
        <pc:sldMkLst>
          <pc:docMk/>
          <pc:sldMk cId="1527030636" sldId="2146846123"/>
        </pc:sldMkLst>
        <pc:spChg chg="mod">
          <ac:chgData name="Katerine Schifino" userId="37bb67de-9fcf-4611-888c-7e5b58184a2a" providerId="ADAL" clId="{D7BBC3CB-68AE-4307-9B5F-60512B429BF0}" dt="2022-03-24T16:04:04.431" v="9643" actId="20577"/>
          <ac:spMkLst>
            <pc:docMk/>
            <pc:sldMk cId="1527030636" sldId="2146846123"/>
            <ac:spMk id="5" creationId="{627EBBDC-F27E-4C02-853D-FC28E86BB1E0}"/>
          </ac:spMkLst>
        </pc:spChg>
        <pc:picChg chg="del">
          <ac:chgData name="Katerine Schifino" userId="37bb67de-9fcf-4611-888c-7e5b58184a2a" providerId="ADAL" clId="{D7BBC3CB-68AE-4307-9B5F-60512B429BF0}" dt="2022-03-23T18:57:41.650" v="2561" actId="478"/>
          <ac:picMkLst>
            <pc:docMk/>
            <pc:sldMk cId="1527030636" sldId="2146846123"/>
            <ac:picMk id="3" creationId="{5B075F0A-992F-4149-9EF7-5E7270678893}"/>
          </ac:picMkLst>
        </pc:picChg>
        <pc:picChg chg="add del mod">
          <ac:chgData name="Katerine Schifino" userId="37bb67de-9fcf-4611-888c-7e5b58184a2a" providerId="ADAL" clId="{D7BBC3CB-68AE-4307-9B5F-60512B429BF0}" dt="2022-03-23T23:05:18.975" v="8485" actId="478"/>
          <ac:picMkLst>
            <pc:docMk/>
            <pc:sldMk cId="1527030636" sldId="2146846123"/>
            <ac:picMk id="7" creationId="{64D8AF83-B240-415B-BF47-5845074AED8F}"/>
          </ac:picMkLst>
        </pc:picChg>
        <pc:picChg chg="add mod">
          <ac:chgData name="Katerine Schifino" userId="37bb67de-9fcf-4611-888c-7e5b58184a2a" providerId="ADAL" clId="{D7BBC3CB-68AE-4307-9B5F-60512B429BF0}" dt="2022-03-23T23:05:42.117" v="8523" actId="14100"/>
          <ac:picMkLst>
            <pc:docMk/>
            <pc:sldMk cId="1527030636" sldId="2146846123"/>
            <ac:picMk id="9218" creationId="{17E3A287-8464-411D-BB02-E661840AC6DC}"/>
          </ac:picMkLst>
        </pc:picChg>
      </pc:sldChg>
      <pc:sldChg chg="del">
        <pc:chgData name="Katerine Schifino" userId="37bb67de-9fcf-4611-888c-7e5b58184a2a" providerId="ADAL" clId="{D7BBC3CB-68AE-4307-9B5F-60512B429BF0}" dt="2022-03-23T13:33:59.022" v="1136" actId="47"/>
        <pc:sldMkLst>
          <pc:docMk/>
          <pc:sldMk cId="2103968347" sldId="2146846124"/>
        </pc:sldMkLst>
      </pc:sldChg>
      <pc:sldChg chg="del">
        <pc:chgData name="Katerine Schifino" userId="37bb67de-9fcf-4611-888c-7e5b58184a2a" providerId="ADAL" clId="{D7BBC3CB-68AE-4307-9B5F-60512B429BF0}" dt="2022-03-22T19:32:42.996" v="333" actId="47"/>
        <pc:sldMkLst>
          <pc:docMk/>
          <pc:sldMk cId="542179122" sldId="2146846125"/>
        </pc:sldMkLst>
      </pc:sldChg>
      <pc:sldChg chg="modSp add del mod">
        <pc:chgData name="Katerine Schifino" userId="37bb67de-9fcf-4611-888c-7e5b58184a2a" providerId="ADAL" clId="{D7BBC3CB-68AE-4307-9B5F-60512B429BF0}" dt="2022-03-22T19:49:01.982" v="455" actId="47"/>
        <pc:sldMkLst>
          <pc:docMk/>
          <pc:sldMk cId="1377652663" sldId="2146846125"/>
        </pc:sldMkLst>
        <pc:spChg chg="mod">
          <ac:chgData name="Katerine Schifino" userId="37bb67de-9fcf-4611-888c-7e5b58184a2a" providerId="ADAL" clId="{D7BBC3CB-68AE-4307-9B5F-60512B429BF0}" dt="2022-03-22T19:46:28.738" v="351" actId="20577"/>
          <ac:spMkLst>
            <pc:docMk/>
            <pc:sldMk cId="1377652663" sldId="2146846125"/>
            <ac:spMk id="4" creationId="{CD3B507D-B343-498F-97D5-78CBF4589AAB}"/>
          </ac:spMkLst>
        </pc:spChg>
      </pc:sldChg>
      <pc:sldChg chg="modSp add del mod modClrScheme chgLayout">
        <pc:chgData name="Katerine Schifino" userId="37bb67de-9fcf-4611-888c-7e5b58184a2a" providerId="ADAL" clId="{D7BBC3CB-68AE-4307-9B5F-60512B429BF0}" dt="2022-03-23T14:13:33.578" v="1697" actId="47"/>
        <pc:sldMkLst>
          <pc:docMk/>
          <pc:sldMk cId="667133344" sldId="2146846126"/>
        </pc:sldMkLst>
        <pc:spChg chg="mod">
          <ac:chgData name="Katerine Schifino" userId="37bb67de-9fcf-4611-888c-7e5b58184a2a" providerId="ADAL" clId="{D7BBC3CB-68AE-4307-9B5F-60512B429BF0}" dt="2022-03-22T19:49:05.736" v="457" actId="20577"/>
          <ac:spMkLst>
            <pc:docMk/>
            <pc:sldMk cId="667133344" sldId="2146846126"/>
            <ac:spMk id="4" creationId="{CD3B507D-B343-498F-97D5-78CBF4589AAB}"/>
          </ac:spMkLst>
        </pc:spChg>
      </pc:sldChg>
      <pc:sldChg chg="add del mod modClrScheme chgLayout">
        <pc:chgData name="Katerine Schifino" userId="37bb67de-9fcf-4611-888c-7e5b58184a2a" providerId="ADAL" clId="{D7BBC3CB-68AE-4307-9B5F-60512B429BF0}" dt="2022-03-23T14:17:01.238" v="1706" actId="2696"/>
        <pc:sldMkLst>
          <pc:docMk/>
          <pc:sldMk cId="73833976" sldId="2146846127"/>
        </pc:sldMkLst>
      </pc:sldChg>
      <pc:sldChg chg="add del">
        <pc:chgData name="Katerine Schifino" userId="37bb67de-9fcf-4611-888c-7e5b58184a2a" providerId="ADAL" clId="{D7BBC3CB-68AE-4307-9B5F-60512B429BF0}" dt="2022-03-23T21:01:14.893" v="4892" actId="2696"/>
        <pc:sldMkLst>
          <pc:docMk/>
          <pc:sldMk cId="1452062836" sldId="2146846127"/>
        </pc:sldMkLst>
      </pc:sldChg>
      <pc:sldChg chg="delSp modSp add del mod ord modClrScheme delAnim chgLayout">
        <pc:chgData name="Katerine Schifino" userId="37bb67de-9fcf-4611-888c-7e5b58184a2a" providerId="ADAL" clId="{D7BBC3CB-68AE-4307-9B5F-60512B429BF0}" dt="2022-03-23T21:01:14.893" v="4892" actId="2696"/>
        <pc:sldMkLst>
          <pc:docMk/>
          <pc:sldMk cId="3591051071" sldId="2146846128"/>
        </pc:sldMkLst>
        <pc:spChg chg="mod">
          <ac:chgData name="Katerine Schifino" userId="37bb67de-9fcf-4611-888c-7e5b58184a2a" providerId="ADAL" clId="{D7BBC3CB-68AE-4307-9B5F-60512B429BF0}" dt="2022-03-23T14:22:02.865" v="1759" actId="20577"/>
          <ac:spMkLst>
            <pc:docMk/>
            <pc:sldMk cId="3591051071" sldId="2146846128"/>
            <ac:spMk id="2" creationId="{D6023ED0-7B56-4284-A0C2-3637347361D2}"/>
          </ac:spMkLst>
        </pc:spChg>
        <pc:spChg chg="del">
          <ac:chgData name="Katerine Schifino" userId="37bb67de-9fcf-4611-888c-7e5b58184a2a" providerId="ADAL" clId="{D7BBC3CB-68AE-4307-9B5F-60512B429BF0}" dt="2022-03-23T13:16:21.870" v="479" actId="478"/>
          <ac:spMkLst>
            <pc:docMk/>
            <pc:sldMk cId="3591051071" sldId="2146846128"/>
            <ac:spMk id="6" creationId="{84AB6011-3C49-4817-B444-68EF20398F2D}"/>
          </ac:spMkLst>
        </pc:spChg>
        <pc:spChg chg="del">
          <ac:chgData name="Katerine Schifino" userId="37bb67de-9fcf-4611-888c-7e5b58184a2a" providerId="ADAL" clId="{D7BBC3CB-68AE-4307-9B5F-60512B429BF0}" dt="2022-03-23T13:16:21.870" v="479" actId="478"/>
          <ac:spMkLst>
            <pc:docMk/>
            <pc:sldMk cId="3591051071" sldId="2146846128"/>
            <ac:spMk id="13" creationId="{569CA870-1CD5-45B1-A013-B3786E164D90}"/>
          </ac:spMkLst>
        </pc:spChg>
        <pc:spChg chg="del">
          <ac:chgData name="Katerine Schifino" userId="37bb67de-9fcf-4611-888c-7e5b58184a2a" providerId="ADAL" clId="{D7BBC3CB-68AE-4307-9B5F-60512B429BF0}" dt="2022-03-23T13:16:21.870" v="479" actId="478"/>
          <ac:spMkLst>
            <pc:docMk/>
            <pc:sldMk cId="3591051071" sldId="2146846128"/>
            <ac:spMk id="14" creationId="{1F37DF61-B666-4446-9AE9-55C4F3220A33}"/>
          </ac:spMkLst>
        </pc:spChg>
        <pc:spChg chg="del">
          <ac:chgData name="Katerine Schifino" userId="37bb67de-9fcf-4611-888c-7e5b58184a2a" providerId="ADAL" clId="{D7BBC3CB-68AE-4307-9B5F-60512B429BF0}" dt="2022-03-23T13:16:25.432" v="481" actId="478"/>
          <ac:spMkLst>
            <pc:docMk/>
            <pc:sldMk cId="3591051071" sldId="2146846128"/>
            <ac:spMk id="15" creationId="{2D0C921B-99E8-4859-AD98-7EBA25C55F19}"/>
          </ac:spMkLst>
        </pc:spChg>
        <pc:spChg chg="del">
          <ac:chgData name="Katerine Schifino" userId="37bb67de-9fcf-4611-888c-7e5b58184a2a" providerId="ADAL" clId="{D7BBC3CB-68AE-4307-9B5F-60512B429BF0}" dt="2022-03-23T13:16:25.432" v="481" actId="478"/>
          <ac:spMkLst>
            <pc:docMk/>
            <pc:sldMk cId="3591051071" sldId="2146846128"/>
            <ac:spMk id="16" creationId="{E8535E27-E885-4E57-835A-EBE70E1E4687}"/>
          </ac:spMkLst>
        </pc:spChg>
        <pc:grpChg chg="del">
          <ac:chgData name="Katerine Schifino" userId="37bb67de-9fcf-4611-888c-7e5b58184a2a" providerId="ADAL" clId="{D7BBC3CB-68AE-4307-9B5F-60512B429BF0}" dt="2022-03-23T13:16:28.489" v="482" actId="478"/>
          <ac:grpSpMkLst>
            <pc:docMk/>
            <pc:sldMk cId="3591051071" sldId="2146846128"/>
            <ac:grpSpMk id="7" creationId="{570EA472-5FDA-431F-9CC9-09ED3FBDD466}"/>
          </ac:grpSpMkLst>
        </pc:grpChg>
        <pc:picChg chg="del">
          <ac:chgData name="Katerine Schifino" userId="37bb67de-9fcf-4611-888c-7e5b58184a2a" providerId="ADAL" clId="{D7BBC3CB-68AE-4307-9B5F-60512B429BF0}" dt="2022-03-23T13:16:21.870" v="479" actId="478"/>
          <ac:picMkLst>
            <pc:docMk/>
            <pc:sldMk cId="3591051071" sldId="2146846128"/>
            <ac:picMk id="5" creationId="{C331DE7B-5162-461A-A751-EAB41D434506}"/>
          </ac:picMkLst>
        </pc:picChg>
        <pc:picChg chg="del">
          <ac:chgData name="Katerine Schifino" userId="37bb67de-9fcf-4611-888c-7e5b58184a2a" providerId="ADAL" clId="{D7BBC3CB-68AE-4307-9B5F-60512B429BF0}" dt="2022-03-23T13:16:21.870" v="479" actId="478"/>
          <ac:picMkLst>
            <pc:docMk/>
            <pc:sldMk cId="3591051071" sldId="2146846128"/>
            <ac:picMk id="10" creationId="{233D8302-4C0A-44B8-812B-C152B6AF8C8F}"/>
          </ac:picMkLst>
        </pc:picChg>
        <pc:picChg chg="del">
          <ac:chgData name="Katerine Schifino" userId="37bb67de-9fcf-4611-888c-7e5b58184a2a" providerId="ADAL" clId="{D7BBC3CB-68AE-4307-9B5F-60512B429BF0}" dt="2022-03-23T13:16:23.247" v="480" actId="478"/>
          <ac:picMkLst>
            <pc:docMk/>
            <pc:sldMk cId="3591051071" sldId="2146846128"/>
            <ac:picMk id="11" creationId="{399247C5-18AE-4071-BFEF-545FCA279A08}"/>
          </ac:picMkLst>
        </pc:picChg>
        <pc:picChg chg="del">
          <ac:chgData name="Katerine Schifino" userId="37bb67de-9fcf-4611-888c-7e5b58184a2a" providerId="ADAL" clId="{D7BBC3CB-68AE-4307-9B5F-60512B429BF0}" dt="2022-03-23T13:16:25.432" v="481" actId="478"/>
          <ac:picMkLst>
            <pc:docMk/>
            <pc:sldMk cId="3591051071" sldId="2146846128"/>
            <ac:picMk id="12" creationId="{7D37ABA2-AE63-41E9-873C-A6C71E290D96}"/>
          </ac:picMkLst>
        </pc:picChg>
      </pc:sldChg>
      <pc:sldChg chg="addSp delSp modSp add mod ord modClrScheme modShow chgLayout modNotesTx">
        <pc:chgData name="Katerine Schifino" userId="37bb67de-9fcf-4611-888c-7e5b58184a2a" providerId="ADAL" clId="{D7BBC3CB-68AE-4307-9B5F-60512B429BF0}" dt="2022-03-23T23:53:48.595" v="9543" actId="729"/>
        <pc:sldMkLst>
          <pc:docMk/>
          <pc:sldMk cId="911348781" sldId="2146846129"/>
        </pc:sldMkLst>
        <pc:spChg chg="del">
          <ac:chgData name="Katerine Schifino" userId="37bb67de-9fcf-4611-888c-7e5b58184a2a" providerId="ADAL" clId="{D7BBC3CB-68AE-4307-9B5F-60512B429BF0}" dt="2022-03-23T21:17:55.131" v="5136" actId="478"/>
          <ac:spMkLst>
            <pc:docMk/>
            <pc:sldMk cId="911348781" sldId="2146846129"/>
            <ac:spMk id="3" creationId="{F37952A8-26A7-4620-BB6E-749B2F7FE437}"/>
          </ac:spMkLst>
        </pc:spChg>
        <pc:spChg chg="mod">
          <ac:chgData name="Katerine Schifino" userId="37bb67de-9fcf-4611-888c-7e5b58184a2a" providerId="ADAL" clId="{D7BBC3CB-68AE-4307-9B5F-60512B429BF0}" dt="2022-03-23T23:35:42.048" v="8961" actId="20577"/>
          <ac:spMkLst>
            <pc:docMk/>
            <pc:sldMk cId="911348781" sldId="2146846129"/>
            <ac:spMk id="4" creationId="{CD3B507D-B343-498F-97D5-78CBF4589AAB}"/>
          </ac:spMkLst>
        </pc:spChg>
        <pc:spChg chg="add mod ord">
          <ac:chgData name="Katerine Schifino" userId="37bb67de-9fcf-4611-888c-7e5b58184a2a" providerId="ADAL" clId="{D7BBC3CB-68AE-4307-9B5F-60512B429BF0}" dt="2022-03-23T22:54:37.793" v="8370" actId="14100"/>
          <ac:spMkLst>
            <pc:docMk/>
            <pc:sldMk cId="911348781" sldId="2146846129"/>
            <ac:spMk id="14" creationId="{E33DB751-E0DF-4B51-9AEE-34DF6967EB63}"/>
          </ac:spMkLst>
        </pc:spChg>
        <pc:spChg chg="add del">
          <ac:chgData name="Katerine Schifino" userId="37bb67de-9fcf-4611-888c-7e5b58184a2a" providerId="ADAL" clId="{D7BBC3CB-68AE-4307-9B5F-60512B429BF0}" dt="2022-03-23T22:13:45.104" v="7270" actId="478"/>
          <ac:spMkLst>
            <pc:docMk/>
            <pc:sldMk cId="911348781" sldId="2146846129"/>
            <ac:spMk id="25" creationId="{24341F6B-5D0C-46F4-ADC4-9D79E2766424}"/>
          </ac:spMkLst>
        </pc:spChg>
        <pc:spChg chg="add del">
          <ac:chgData name="Katerine Schifino" userId="37bb67de-9fcf-4611-888c-7e5b58184a2a" providerId="ADAL" clId="{D7BBC3CB-68AE-4307-9B5F-60512B429BF0}" dt="2022-03-23T22:13:58.227" v="7272" actId="478"/>
          <ac:spMkLst>
            <pc:docMk/>
            <pc:sldMk cId="911348781" sldId="2146846129"/>
            <ac:spMk id="26" creationId="{83863FF7-C74D-4169-B769-35665315391F}"/>
          </ac:spMkLst>
        </pc:spChg>
        <pc:spChg chg="add del">
          <ac:chgData name="Katerine Schifino" userId="37bb67de-9fcf-4611-888c-7e5b58184a2a" providerId="ADAL" clId="{D7BBC3CB-68AE-4307-9B5F-60512B429BF0}" dt="2022-03-23T22:14:09.085" v="7274" actId="478"/>
          <ac:spMkLst>
            <pc:docMk/>
            <pc:sldMk cId="911348781" sldId="2146846129"/>
            <ac:spMk id="27" creationId="{09181627-CEBA-4417-97C0-DB9BB6410A42}"/>
          </ac:spMkLst>
        </pc:spChg>
        <pc:spChg chg="add 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28" creationId="{AF8CCCE0-043B-4F69-836E-B3DF7C83CE2B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30" creationId="{C99D0223-C888-4B36-9C0C-13E9B12C5582}"/>
          </ac:spMkLst>
        </pc:spChg>
        <pc:spChg chg="del">
          <ac:chgData name="Katerine Schifino" userId="37bb67de-9fcf-4611-888c-7e5b58184a2a" providerId="ADAL" clId="{D7BBC3CB-68AE-4307-9B5F-60512B429BF0}" dt="2022-03-23T21:17:55.131" v="5136" actId="478"/>
          <ac:spMkLst>
            <pc:docMk/>
            <pc:sldMk cId="911348781" sldId="2146846129"/>
            <ac:spMk id="55" creationId="{693BE602-C9B4-412A-8447-FDCBB931768E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64" creationId="{A3CA8339-8093-4E2C-A642-1E213D01F1B1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65" creationId="{96E1A670-61F2-41AA-9FD8-9F65CB1B4866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66" creationId="{9280DEA7-14D7-4415-8BD3-1E1F152936B5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67" creationId="{4936C53E-481D-489E-BF6C-A896FF61C731}"/>
          </ac:spMkLst>
        </pc:spChg>
        <pc:spChg chg="del mod">
          <ac:chgData name="Katerine Schifino" userId="37bb67de-9fcf-4611-888c-7e5b58184a2a" providerId="ADAL" clId="{D7BBC3CB-68AE-4307-9B5F-60512B429BF0}" dt="2022-03-23T21:54:25.377" v="6109" actId="478"/>
          <ac:spMkLst>
            <pc:docMk/>
            <pc:sldMk cId="911348781" sldId="2146846129"/>
            <ac:spMk id="68" creationId="{C92BD40F-9AB5-43A8-A0B0-7B1ED4CA9A8E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69" creationId="{F91FCAF1-7181-4E07-9488-21752B395472}"/>
          </ac:spMkLst>
        </pc:spChg>
        <pc:spChg chg="del mod">
          <ac:chgData name="Katerine Schifino" userId="37bb67de-9fcf-4611-888c-7e5b58184a2a" providerId="ADAL" clId="{D7BBC3CB-68AE-4307-9B5F-60512B429BF0}" dt="2022-03-23T21:52:09.714" v="5973" actId="478"/>
          <ac:spMkLst>
            <pc:docMk/>
            <pc:sldMk cId="911348781" sldId="2146846129"/>
            <ac:spMk id="70" creationId="{10CD1923-F098-4B45-80B9-68A657E83417}"/>
          </ac:spMkLst>
        </pc:spChg>
        <pc:spChg chg="del mod">
          <ac:chgData name="Katerine Schifino" userId="37bb67de-9fcf-4611-888c-7e5b58184a2a" providerId="ADAL" clId="{D7BBC3CB-68AE-4307-9B5F-60512B429BF0}" dt="2022-03-23T21:52:06.185" v="5972" actId="478"/>
          <ac:spMkLst>
            <pc:docMk/>
            <pc:sldMk cId="911348781" sldId="2146846129"/>
            <ac:spMk id="71" creationId="{78EB6F97-8553-4F1B-BC52-9A68BB4E1186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75" creationId="{8C546ED1-5ABF-49FC-9CFF-540A73D4FA3D}"/>
          </ac:spMkLst>
        </pc:spChg>
        <pc:spChg chg="mod topLvl">
          <ac:chgData name="Katerine Schifino" userId="37bb67de-9fcf-4611-888c-7e5b58184a2a" providerId="ADAL" clId="{D7BBC3CB-68AE-4307-9B5F-60512B429BF0}" dt="2022-03-23T22:55:48.370" v="8393"/>
          <ac:spMkLst>
            <pc:docMk/>
            <pc:sldMk cId="911348781" sldId="2146846129"/>
            <ac:spMk id="76" creationId="{389FE332-3A8D-4F87-AC68-02D777B0FF8E}"/>
          </ac:spMkLst>
        </pc:spChg>
        <pc:spChg chg="mod topLvl">
          <ac:chgData name="Katerine Schifino" userId="37bb67de-9fcf-4611-888c-7e5b58184a2a" providerId="ADAL" clId="{D7BBC3CB-68AE-4307-9B5F-60512B429BF0}" dt="2022-03-23T22:55:28.353" v="8392" actId="20577"/>
          <ac:spMkLst>
            <pc:docMk/>
            <pc:sldMk cId="911348781" sldId="2146846129"/>
            <ac:spMk id="77" creationId="{7624D93A-2E4F-4C1F-BC2A-A56D269ADF03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78" creationId="{1420915E-09F9-48A9-9DB8-0D463163BE0D}"/>
          </ac:spMkLst>
        </pc:spChg>
        <pc:spChg chg="del mod">
          <ac:chgData name="Katerine Schifino" userId="37bb67de-9fcf-4611-888c-7e5b58184a2a" providerId="ADAL" clId="{D7BBC3CB-68AE-4307-9B5F-60512B429BF0}" dt="2022-03-23T21:54:25.377" v="6109" actId="478"/>
          <ac:spMkLst>
            <pc:docMk/>
            <pc:sldMk cId="911348781" sldId="2146846129"/>
            <ac:spMk id="79" creationId="{67B34822-B096-4BC6-BB83-9E1BFB578235}"/>
          </ac:spMkLst>
        </pc:spChg>
        <pc:spChg chg="del mod">
          <ac:chgData name="Katerine Schifino" userId="37bb67de-9fcf-4611-888c-7e5b58184a2a" providerId="ADAL" clId="{D7BBC3CB-68AE-4307-9B5F-60512B429BF0}" dt="2022-03-23T21:52:09.714" v="5973" actId="478"/>
          <ac:spMkLst>
            <pc:docMk/>
            <pc:sldMk cId="911348781" sldId="2146846129"/>
            <ac:spMk id="80" creationId="{078E3C0D-FFDA-4B3F-BB8F-14F18BE69F5D}"/>
          </ac:spMkLst>
        </pc:spChg>
        <pc:spChg chg="del mod">
          <ac:chgData name="Katerine Schifino" userId="37bb67de-9fcf-4611-888c-7e5b58184a2a" providerId="ADAL" clId="{D7BBC3CB-68AE-4307-9B5F-60512B429BF0}" dt="2022-03-23T21:52:06.185" v="5972" actId="478"/>
          <ac:spMkLst>
            <pc:docMk/>
            <pc:sldMk cId="911348781" sldId="2146846129"/>
            <ac:spMk id="81" creationId="{18A1919D-A35C-4059-B2B3-C3A4982C815B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82" creationId="{C58E3A13-7588-41E2-8534-9AC4A2F449E4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83" creationId="{D4A51786-E361-4832-903A-8E1178E3424F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84" creationId="{0000E044-5557-43E0-B06C-17136B0E0DC7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85" creationId="{77B3886F-1125-40BF-9902-387B4DAA1062}"/>
          </ac:spMkLst>
        </pc:spChg>
        <pc:spChg chg="del mod">
          <ac:chgData name="Katerine Schifino" userId="37bb67de-9fcf-4611-888c-7e5b58184a2a" providerId="ADAL" clId="{D7BBC3CB-68AE-4307-9B5F-60512B429BF0}" dt="2022-03-23T21:54:25.377" v="6109" actId="478"/>
          <ac:spMkLst>
            <pc:docMk/>
            <pc:sldMk cId="911348781" sldId="2146846129"/>
            <ac:spMk id="86" creationId="{56586C76-C7B6-40D0-B946-F208A5E09B2C}"/>
          </ac:spMkLst>
        </pc:spChg>
        <pc:spChg chg="del mod">
          <ac:chgData name="Katerine Schifino" userId="37bb67de-9fcf-4611-888c-7e5b58184a2a" providerId="ADAL" clId="{D7BBC3CB-68AE-4307-9B5F-60512B429BF0}" dt="2022-03-23T21:52:09.714" v="5973" actId="478"/>
          <ac:spMkLst>
            <pc:docMk/>
            <pc:sldMk cId="911348781" sldId="2146846129"/>
            <ac:spMk id="87" creationId="{F8DA1379-05F7-4403-A8D4-1456233F3B03}"/>
          </ac:spMkLst>
        </pc:spChg>
        <pc:spChg chg="del mod">
          <ac:chgData name="Katerine Schifino" userId="37bb67de-9fcf-4611-888c-7e5b58184a2a" providerId="ADAL" clId="{D7BBC3CB-68AE-4307-9B5F-60512B429BF0}" dt="2022-03-23T21:52:06.185" v="5972" actId="478"/>
          <ac:spMkLst>
            <pc:docMk/>
            <pc:sldMk cId="911348781" sldId="2146846129"/>
            <ac:spMk id="88" creationId="{AD9A92D7-1B9B-47FB-B8B1-6CED5C5CCB04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89" creationId="{10E35607-6D0D-480F-B074-4C5AF2F42B37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90" creationId="{BAA10466-78B5-46F7-A319-8B527AF2809B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91" creationId="{25E41925-4F7C-4EA0-93A9-CF2C15F76C90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92" creationId="{3D726B6D-0509-46E6-B342-8B7B96B15069}"/>
          </ac:spMkLst>
        </pc:spChg>
        <pc:spChg chg="del mod">
          <ac:chgData name="Katerine Schifino" userId="37bb67de-9fcf-4611-888c-7e5b58184a2a" providerId="ADAL" clId="{D7BBC3CB-68AE-4307-9B5F-60512B429BF0}" dt="2022-03-23T21:54:25.377" v="6109" actId="478"/>
          <ac:spMkLst>
            <pc:docMk/>
            <pc:sldMk cId="911348781" sldId="2146846129"/>
            <ac:spMk id="93" creationId="{4B00AC9E-53E6-47B5-9A64-843616278B2B}"/>
          </ac:spMkLst>
        </pc:spChg>
        <pc:spChg chg="del mod">
          <ac:chgData name="Katerine Schifino" userId="37bb67de-9fcf-4611-888c-7e5b58184a2a" providerId="ADAL" clId="{D7BBC3CB-68AE-4307-9B5F-60512B429BF0}" dt="2022-03-23T21:52:09.714" v="5973" actId="478"/>
          <ac:spMkLst>
            <pc:docMk/>
            <pc:sldMk cId="911348781" sldId="2146846129"/>
            <ac:spMk id="94" creationId="{1BBDD8C7-CDE6-4FD5-BC6D-314836132ACE}"/>
          </ac:spMkLst>
        </pc:spChg>
        <pc:spChg chg="del mod">
          <ac:chgData name="Katerine Schifino" userId="37bb67de-9fcf-4611-888c-7e5b58184a2a" providerId="ADAL" clId="{D7BBC3CB-68AE-4307-9B5F-60512B429BF0}" dt="2022-03-23T21:52:06.185" v="5972" actId="478"/>
          <ac:spMkLst>
            <pc:docMk/>
            <pc:sldMk cId="911348781" sldId="2146846129"/>
            <ac:spMk id="95" creationId="{25F305CA-F0B7-4142-B458-1BE9FEED6D6B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96" creationId="{DEB7B4C1-5155-4B55-A62C-D0455C127018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97" creationId="{3B9BBA08-36E6-4663-B98E-94039FAE2D92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98" creationId="{8AB5F475-A3F1-4032-83D2-AC0B8D39BB29}"/>
          </ac:spMkLst>
        </pc:spChg>
        <pc:spChg chg="mod topLvl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99" creationId="{AFB16858-CE5E-47D7-9439-8DC471FD0DEF}"/>
          </ac:spMkLst>
        </pc:spChg>
        <pc:spChg chg="del mod">
          <ac:chgData name="Katerine Schifino" userId="37bb67de-9fcf-4611-888c-7e5b58184a2a" providerId="ADAL" clId="{D7BBC3CB-68AE-4307-9B5F-60512B429BF0}" dt="2022-03-23T21:54:25.377" v="6109" actId="478"/>
          <ac:spMkLst>
            <pc:docMk/>
            <pc:sldMk cId="911348781" sldId="2146846129"/>
            <ac:spMk id="100" creationId="{09C3A887-B2BF-47D4-A63B-04B953E44539}"/>
          </ac:spMkLst>
        </pc:spChg>
        <pc:spChg chg="del mod">
          <ac:chgData name="Katerine Schifino" userId="37bb67de-9fcf-4611-888c-7e5b58184a2a" providerId="ADAL" clId="{D7BBC3CB-68AE-4307-9B5F-60512B429BF0}" dt="2022-03-23T21:52:09.714" v="5973" actId="478"/>
          <ac:spMkLst>
            <pc:docMk/>
            <pc:sldMk cId="911348781" sldId="2146846129"/>
            <ac:spMk id="101" creationId="{63863142-DC04-4C52-8578-4ED85814E89C}"/>
          </ac:spMkLst>
        </pc:spChg>
        <pc:spChg chg="del mod">
          <ac:chgData name="Katerine Schifino" userId="37bb67de-9fcf-4611-888c-7e5b58184a2a" providerId="ADAL" clId="{D7BBC3CB-68AE-4307-9B5F-60512B429BF0}" dt="2022-03-23T21:52:06.185" v="5972" actId="478"/>
          <ac:spMkLst>
            <pc:docMk/>
            <pc:sldMk cId="911348781" sldId="2146846129"/>
            <ac:spMk id="102" creationId="{2CDF372B-5B5F-46BD-B686-541BF960EE42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03" creationId="{9D4098D1-70FC-4DE4-A226-29B99877258D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04" creationId="{D49AED80-CCF1-4B3A-8DDC-D19EDBF754C2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05" creationId="{4CF25C2E-FEFE-44CB-894A-D1D5359B0684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06" creationId="{C87E10BD-FF0A-48F4-A249-9FB8E0525706}"/>
          </ac:spMkLst>
        </pc:spChg>
        <pc:spChg chg="add mod">
          <ac:chgData name="Katerine Schifino" userId="37bb67de-9fcf-4611-888c-7e5b58184a2a" providerId="ADAL" clId="{D7BBC3CB-68AE-4307-9B5F-60512B429BF0}" dt="2022-03-23T22:00:13.500" v="6452" actId="164"/>
          <ac:spMkLst>
            <pc:docMk/>
            <pc:sldMk cId="911348781" sldId="2146846129"/>
            <ac:spMk id="107" creationId="{00769023-93F9-4383-8262-FEB050AF31A7}"/>
          </ac:spMkLst>
        </pc:spChg>
        <pc:spChg chg="mod">
          <ac:chgData name="Katerine Schifino" userId="37bb67de-9fcf-4611-888c-7e5b58184a2a" providerId="ADAL" clId="{D7BBC3CB-68AE-4307-9B5F-60512B429BF0}" dt="2022-03-23T21:59:58.677" v="6448"/>
          <ac:spMkLst>
            <pc:docMk/>
            <pc:sldMk cId="911348781" sldId="2146846129"/>
            <ac:spMk id="109" creationId="{45E2D985-D838-4B37-8AB9-C45FC56222BD}"/>
          </ac:spMkLst>
        </pc:spChg>
        <pc:spChg chg="add del mod">
          <ac:chgData name="Katerine Schifino" userId="37bb67de-9fcf-4611-888c-7e5b58184a2a" providerId="ADAL" clId="{D7BBC3CB-68AE-4307-9B5F-60512B429BF0}" dt="2022-03-23T22:52:18.221" v="8351" actId="478"/>
          <ac:spMkLst>
            <pc:docMk/>
            <pc:sldMk cId="911348781" sldId="2146846129"/>
            <ac:spMk id="111" creationId="{24037BAF-3AC0-41B2-814C-0560A6CB0243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18" creationId="{A4C96D2A-5B34-4479-BECF-97C76A13EEFA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19" creationId="{F26C2E02-92CE-47D4-A6F8-E2F41F8C761C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20" creationId="{1BA5BB19-4465-4951-8D77-B3753D32B540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21" creationId="{17023AB6-4DD4-4718-AAB7-E4D425C3FD13}"/>
          </ac:spMkLst>
        </pc:spChg>
        <pc:spChg chg="add del mod">
          <ac:chgData name="Katerine Schifino" userId="37bb67de-9fcf-4611-888c-7e5b58184a2a" providerId="ADAL" clId="{D7BBC3CB-68AE-4307-9B5F-60512B429BF0}" dt="2022-03-23T22:19:32.981" v="7520" actId="478"/>
          <ac:spMkLst>
            <pc:docMk/>
            <pc:sldMk cId="911348781" sldId="2146846129"/>
            <ac:spMk id="122" creationId="{3C4BA8B1-A4CA-4A7D-9EC1-4A4F9D4881E5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23" creationId="{361DA0A0-8C6E-4AD7-9A71-239F60AE0F3E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24" creationId="{CD0A3D36-04F8-4912-AB30-1760967C3709}"/>
          </ac:spMkLst>
        </pc:spChg>
        <pc:spChg chg="add mod">
          <ac:chgData name="Katerine Schifino" userId="37bb67de-9fcf-4611-888c-7e5b58184a2a" providerId="ADAL" clId="{D7BBC3CB-68AE-4307-9B5F-60512B429BF0}" dt="2022-03-23T22:52:12.332" v="8349" actId="1076"/>
          <ac:spMkLst>
            <pc:docMk/>
            <pc:sldMk cId="911348781" sldId="2146846129"/>
            <ac:spMk id="125" creationId="{20C4903E-6712-4C6C-9717-E316B39DAA32}"/>
          </ac:spMkLst>
        </pc:spChg>
        <pc:spChg chg="add del mod">
          <ac:chgData name="Katerine Schifino" userId="37bb67de-9fcf-4611-888c-7e5b58184a2a" providerId="ADAL" clId="{D7BBC3CB-68AE-4307-9B5F-60512B429BF0}" dt="2022-03-23T22:52:20.995" v="8352" actId="478"/>
          <ac:spMkLst>
            <pc:docMk/>
            <pc:sldMk cId="911348781" sldId="2146846129"/>
            <ac:spMk id="126" creationId="{9FD2479E-47C8-444D-B11D-36B48E2E9641}"/>
          </ac:spMkLst>
        </pc:spChg>
        <pc:grpChg chg="del">
          <ac:chgData name="Katerine Schifino" userId="37bb67de-9fcf-4611-888c-7e5b58184a2a" providerId="ADAL" clId="{D7BBC3CB-68AE-4307-9B5F-60512B429BF0}" dt="2022-03-23T21:17:55.131" v="5136" actId="478"/>
          <ac:grpSpMkLst>
            <pc:docMk/>
            <pc:sldMk cId="911348781" sldId="2146846129"/>
            <ac:grpSpMk id="6" creationId="{261DB4A7-4C07-46D7-916D-B61EDC194383}"/>
          </ac:grpSpMkLst>
        </pc:grpChg>
        <pc:grpChg chg="add del mod">
          <ac:chgData name="Katerine Schifino" userId="37bb67de-9fcf-4611-888c-7e5b58184a2a" providerId="ADAL" clId="{D7BBC3CB-68AE-4307-9B5F-60512B429BF0}" dt="2022-03-23T22:51:53.044" v="8347" actId="478"/>
          <ac:grpSpMkLst>
            <pc:docMk/>
            <pc:sldMk cId="911348781" sldId="2146846129"/>
            <ac:grpSpMk id="24" creationId="{05C285B0-A826-4678-85FD-2B0BEB175855}"/>
          </ac:grpSpMkLst>
        </pc:grpChg>
        <pc:grpChg chg="add del mod">
          <ac:chgData name="Katerine Schifino" userId="37bb67de-9fcf-4611-888c-7e5b58184a2a" providerId="ADAL" clId="{D7BBC3CB-68AE-4307-9B5F-60512B429BF0}" dt="2022-03-23T22:51:59.613" v="8348" actId="165"/>
          <ac:grpSpMkLst>
            <pc:docMk/>
            <pc:sldMk cId="911348781" sldId="2146846129"/>
            <ac:grpSpMk id="29" creationId="{25455190-98D4-4EBD-8169-1BB33F1D1327}"/>
          </ac:grpSpMkLst>
        </pc:grpChg>
        <pc:grpChg chg="del">
          <ac:chgData name="Katerine Schifino" userId="37bb67de-9fcf-4611-888c-7e5b58184a2a" providerId="ADAL" clId="{D7BBC3CB-68AE-4307-9B5F-60512B429BF0}" dt="2022-03-23T21:17:55.131" v="5136" actId="478"/>
          <ac:grpSpMkLst>
            <pc:docMk/>
            <pc:sldMk cId="911348781" sldId="2146846129"/>
            <ac:grpSpMk id="54" creationId="{C8CACEA6-0212-4EFD-B253-05AA389E4D94}"/>
          </ac:grpSpMkLst>
        </pc:grpChg>
        <pc:grpChg chg="add del mod">
          <ac:chgData name="Katerine Schifino" userId="37bb67de-9fcf-4611-888c-7e5b58184a2a" providerId="ADAL" clId="{D7BBC3CB-68AE-4307-9B5F-60512B429BF0}" dt="2022-03-23T22:51:59.613" v="8348" actId="165"/>
          <ac:grpSpMkLst>
            <pc:docMk/>
            <pc:sldMk cId="911348781" sldId="2146846129"/>
            <ac:grpSpMk id="56" creationId="{4C00BA8E-1917-4E6C-BB75-BC299A789CA8}"/>
          </ac:grpSpMkLst>
        </pc:grpChg>
        <pc:grpChg chg="add mod">
          <ac:chgData name="Katerine Schifino" userId="37bb67de-9fcf-4611-888c-7e5b58184a2a" providerId="ADAL" clId="{D7BBC3CB-68AE-4307-9B5F-60512B429BF0}" dt="2022-03-23T22:00:13.500" v="6452" actId="164"/>
          <ac:grpSpMkLst>
            <pc:docMk/>
            <pc:sldMk cId="911348781" sldId="2146846129"/>
            <ac:grpSpMk id="108" creationId="{950F7CE4-4B8F-43C4-BFCC-46975D30A2E8}"/>
          </ac:grpSpMkLst>
        </pc:grpChg>
        <pc:picChg chg="mod">
          <ac:chgData name="Katerine Schifino" userId="37bb67de-9fcf-4611-888c-7e5b58184a2a" providerId="ADAL" clId="{D7BBC3CB-68AE-4307-9B5F-60512B429BF0}" dt="2022-03-23T21:59:58.677" v="6448"/>
          <ac:picMkLst>
            <pc:docMk/>
            <pc:sldMk cId="911348781" sldId="2146846129"/>
            <ac:picMk id="110" creationId="{A8365DF3-B895-42F5-ABBC-7B7F12533A3D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112" creationId="{E30A1D84-D348-4D2D-9B61-E9CEA0E6293F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113" creationId="{AF896F4A-71C1-4C6A-AF09-EA2DB64DD592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114" creationId="{22B86307-E3A8-4178-9A21-C50785B75952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115" creationId="{345679A1-9F1C-42DE-92F8-D1F7A6B39241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116" creationId="{6786E4A3-5AA3-412D-A62C-600FBCB53474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117" creationId="{53197509-9705-4DFE-823C-F2880C065054}"/>
          </ac:picMkLst>
        </pc:picChg>
        <pc:picChg chg="add del">
          <ac:chgData name="Katerine Schifino" userId="37bb67de-9fcf-4611-888c-7e5b58184a2a" providerId="ADAL" clId="{D7BBC3CB-68AE-4307-9B5F-60512B429BF0}" dt="2022-03-23T21:18:51.047" v="5139" actId="478"/>
          <ac:picMkLst>
            <pc:docMk/>
            <pc:sldMk cId="911348781" sldId="2146846129"/>
            <ac:picMk id="4098" creationId="{2878EE32-FA46-4168-9266-2B4C62DFC071}"/>
          </ac:picMkLst>
        </pc:picChg>
        <pc:picChg chg="add del mod">
          <ac:chgData name="Katerine Schifino" userId="37bb67de-9fcf-4611-888c-7e5b58184a2a" providerId="ADAL" clId="{D7BBC3CB-68AE-4307-9B5F-60512B429BF0}" dt="2022-03-23T22:49:16.065" v="8308" actId="478"/>
          <ac:picMkLst>
            <pc:docMk/>
            <pc:sldMk cId="911348781" sldId="2146846129"/>
            <ac:picMk id="4100" creationId="{5E81034A-CB49-4DB3-B2F2-8F3E5ED99F0C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4102" creationId="{A0BF8791-0948-49D1-9C21-D3702BD69FAA}"/>
          </ac:picMkLst>
        </pc:picChg>
        <pc:picChg chg="add mod topLvl">
          <ac:chgData name="Katerine Schifino" userId="37bb67de-9fcf-4611-888c-7e5b58184a2a" providerId="ADAL" clId="{D7BBC3CB-68AE-4307-9B5F-60512B429BF0}" dt="2022-03-23T22:52:12.332" v="8349" actId="1076"/>
          <ac:picMkLst>
            <pc:docMk/>
            <pc:sldMk cId="911348781" sldId="2146846129"/>
            <ac:picMk id="4104" creationId="{55760DB5-EB8E-4114-ABC7-952F776A375C}"/>
          </ac:picMkLst>
        </pc:picChg>
        <pc:cxnChg chg="mod topLvl">
          <ac:chgData name="Katerine Schifino" userId="37bb67de-9fcf-4611-888c-7e5b58184a2a" providerId="ADAL" clId="{D7BBC3CB-68AE-4307-9B5F-60512B429BF0}" dt="2022-03-23T22:52:12.332" v="8349" actId="1076"/>
          <ac:cxnSpMkLst>
            <pc:docMk/>
            <pc:sldMk cId="911348781" sldId="2146846129"/>
            <ac:cxnSpMk id="72" creationId="{FA68312F-C518-426F-B56E-60629089FAC9}"/>
          </ac:cxnSpMkLst>
        </pc:cxnChg>
        <pc:cxnChg chg="mod topLvl">
          <ac:chgData name="Katerine Schifino" userId="37bb67de-9fcf-4611-888c-7e5b58184a2a" providerId="ADAL" clId="{D7BBC3CB-68AE-4307-9B5F-60512B429BF0}" dt="2022-03-23T22:52:12.332" v="8349" actId="1076"/>
          <ac:cxnSpMkLst>
            <pc:docMk/>
            <pc:sldMk cId="911348781" sldId="2146846129"/>
            <ac:cxnSpMk id="73" creationId="{269079FD-489B-4D0C-9A11-A0F7942B3FF8}"/>
          </ac:cxnSpMkLst>
        </pc:cxnChg>
        <pc:cxnChg chg="mod topLvl">
          <ac:chgData name="Katerine Schifino" userId="37bb67de-9fcf-4611-888c-7e5b58184a2a" providerId="ADAL" clId="{D7BBC3CB-68AE-4307-9B5F-60512B429BF0}" dt="2022-03-23T22:52:12.332" v="8349" actId="1076"/>
          <ac:cxnSpMkLst>
            <pc:docMk/>
            <pc:sldMk cId="911348781" sldId="2146846129"/>
            <ac:cxnSpMk id="74" creationId="{7D478736-CF0B-424A-973A-274E7CC363AC}"/>
          </ac:cxnSpMkLst>
        </pc:cxnChg>
      </pc:sldChg>
      <pc:sldChg chg="delSp modSp add del mod ord">
        <pc:chgData name="Katerine Schifino" userId="37bb67de-9fcf-4611-888c-7e5b58184a2a" providerId="ADAL" clId="{D7BBC3CB-68AE-4307-9B5F-60512B429BF0}" dt="2022-03-23T16:23:03.423" v="2439" actId="47"/>
        <pc:sldMkLst>
          <pc:docMk/>
          <pc:sldMk cId="2550085921" sldId="2146846130"/>
        </pc:sldMkLst>
        <pc:spChg chg="del mod">
          <ac:chgData name="Katerine Schifino" userId="37bb67de-9fcf-4611-888c-7e5b58184a2a" providerId="ADAL" clId="{D7BBC3CB-68AE-4307-9B5F-60512B429BF0}" dt="2022-03-23T16:18:03.841" v="2383" actId="21"/>
          <ac:spMkLst>
            <pc:docMk/>
            <pc:sldMk cId="2550085921" sldId="2146846130"/>
            <ac:spMk id="124" creationId="{60ADC211-36AE-443F-AAEA-7FDA4CE4817B}"/>
          </ac:spMkLst>
        </pc:spChg>
        <pc:grpChg chg="mod">
          <ac:chgData name="Katerine Schifino" userId="37bb67de-9fcf-4611-888c-7e5b58184a2a" providerId="ADAL" clId="{D7BBC3CB-68AE-4307-9B5F-60512B429BF0}" dt="2022-03-23T16:18:24.319" v="2389" actId="1076"/>
          <ac:grpSpMkLst>
            <pc:docMk/>
            <pc:sldMk cId="2550085921" sldId="2146846130"/>
            <ac:grpSpMk id="8" creationId="{1B5BD8F5-F7DC-41D7-A74F-31A4C0748F42}"/>
          </ac:grpSpMkLst>
        </pc:grpChg>
      </pc:sldChg>
      <pc:sldChg chg="addSp delSp modSp add mod">
        <pc:chgData name="Katerine Schifino" userId="37bb67de-9fcf-4611-888c-7e5b58184a2a" providerId="ADAL" clId="{D7BBC3CB-68AE-4307-9B5F-60512B429BF0}" dt="2022-03-23T21:17:07.514" v="5092" actId="113"/>
        <pc:sldMkLst>
          <pc:docMk/>
          <pc:sldMk cId="183289927" sldId="2146846131"/>
        </pc:sldMkLst>
        <pc:spChg chg="add del mod">
          <ac:chgData name="Katerine Schifino" userId="37bb67de-9fcf-4611-888c-7e5b58184a2a" providerId="ADAL" clId="{D7BBC3CB-68AE-4307-9B5F-60512B429BF0}" dt="2022-03-23T21:13:35.483" v="4930" actId="478"/>
          <ac:spMkLst>
            <pc:docMk/>
            <pc:sldMk cId="183289927" sldId="2146846131"/>
            <ac:spMk id="7" creationId="{B3934FC6-F527-444C-9050-A9ECA6CF635F}"/>
          </ac:spMkLst>
        </pc:spChg>
        <pc:spChg chg="del mod">
          <ac:chgData name="Katerine Schifino" userId="37bb67de-9fcf-4611-888c-7e5b58184a2a" providerId="ADAL" clId="{D7BBC3CB-68AE-4307-9B5F-60512B429BF0}" dt="2022-03-23T14:20:56.020" v="1757" actId="478"/>
          <ac:spMkLst>
            <pc:docMk/>
            <pc:sldMk cId="183289927" sldId="2146846131"/>
            <ac:spMk id="9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11" creationId="{00000000-0000-0000-0000-000000000000}"/>
          </ac:spMkLst>
        </pc:spChg>
        <pc:spChg chg="del mod">
          <ac:chgData name="Katerine Schifino" userId="37bb67de-9fcf-4611-888c-7e5b58184a2a" providerId="ADAL" clId="{D7BBC3CB-68AE-4307-9B5F-60512B429BF0}" dt="2022-03-23T14:20:56.020" v="1757" actId="478"/>
          <ac:spMkLst>
            <pc:docMk/>
            <pc:sldMk cId="183289927" sldId="2146846131"/>
            <ac:spMk id="12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13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14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15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7.311" v="1684" actId="478"/>
          <ac:spMkLst>
            <pc:docMk/>
            <pc:sldMk cId="183289927" sldId="2146846131"/>
            <ac:spMk id="17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18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19" creationId="{00000000-0000-0000-0000-000000000000}"/>
          </ac:spMkLst>
        </pc:spChg>
        <pc:spChg chg="add mod">
          <ac:chgData name="Katerine Schifino" userId="37bb67de-9fcf-4611-888c-7e5b58184a2a" providerId="ADAL" clId="{D7BBC3CB-68AE-4307-9B5F-60512B429BF0}" dt="2022-03-23T21:13:50.820" v="4961" actId="1035"/>
          <ac:spMkLst>
            <pc:docMk/>
            <pc:sldMk cId="183289927" sldId="2146846131"/>
            <ac:spMk id="20" creationId="{9ADF1B7E-0958-4ED6-9413-88B4915CF8A8}"/>
          </ac:spMkLst>
        </pc:spChg>
        <pc:spChg chg="del">
          <ac:chgData name="Katerine Schifino" userId="37bb67de-9fcf-4611-888c-7e5b58184a2a" providerId="ADAL" clId="{D7BBC3CB-68AE-4307-9B5F-60512B429BF0}" dt="2022-03-23T14:07:29.164" v="1685" actId="478"/>
          <ac:spMkLst>
            <pc:docMk/>
            <pc:sldMk cId="183289927" sldId="2146846131"/>
            <ac:spMk id="21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22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23" creationId="{00000000-0000-0000-0000-000000000000}"/>
          </ac:spMkLst>
        </pc:spChg>
        <pc:spChg chg="add mod">
          <ac:chgData name="Katerine Schifino" userId="37bb67de-9fcf-4611-888c-7e5b58184a2a" providerId="ADAL" clId="{D7BBC3CB-68AE-4307-9B5F-60512B429BF0}" dt="2022-03-23T21:13:50.820" v="4961" actId="1035"/>
          <ac:spMkLst>
            <pc:docMk/>
            <pc:sldMk cId="183289927" sldId="2146846131"/>
            <ac:spMk id="24" creationId="{1CD37BB6-74CD-4C39-B0B9-2B4CB7DFB18B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26" creationId="{00000000-0000-0000-0000-000000000000}"/>
          </ac:spMkLst>
        </pc:spChg>
        <pc:spChg chg="del">
          <ac:chgData name="Katerine Schifino" userId="37bb67de-9fcf-4611-888c-7e5b58184a2a" providerId="ADAL" clId="{D7BBC3CB-68AE-4307-9B5F-60512B429BF0}" dt="2022-03-23T14:07:25.660" v="1683" actId="478"/>
          <ac:spMkLst>
            <pc:docMk/>
            <pc:sldMk cId="183289927" sldId="2146846131"/>
            <ac:spMk id="27" creationId="{00000000-0000-0000-0000-000000000000}"/>
          </ac:spMkLst>
        </pc:spChg>
        <pc:spChg chg="add mod">
          <ac:chgData name="Katerine Schifino" userId="37bb67de-9fcf-4611-888c-7e5b58184a2a" providerId="ADAL" clId="{D7BBC3CB-68AE-4307-9B5F-60512B429BF0}" dt="2022-03-23T20:29:26.949" v="3651" actId="164"/>
          <ac:spMkLst>
            <pc:docMk/>
            <pc:sldMk cId="183289927" sldId="2146846131"/>
            <ac:spMk id="28" creationId="{7008C239-2DA4-451D-B251-5DEC291A35C8}"/>
          </ac:spMkLst>
        </pc:spChg>
        <pc:spChg chg="del">
          <ac:chgData name="Katerine Schifino" userId="37bb67de-9fcf-4611-888c-7e5b58184a2a" providerId="ADAL" clId="{D7BBC3CB-68AE-4307-9B5F-60512B429BF0}" dt="2022-03-23T19:17:48.875" v="3273" actId="478"/>
          <ac:spMkLst>
            <pc:docMk/>
            <pc:sldMk cId="183289927" sldId="2146846131"/>
            <ac:spMk id="29" creationId="{00000000-0000-0000-0000-000000000000}"/>
          </ac:spMkLst>
        </pc:spChg>
        <pc:spChg chg="add del mod">
          <ac:chgData name="Katerine Schifino" userId="37bb67de-9fcf-4611-888c-7e5b58184a2a" providerId="ADAL" clId="{D7BBC3CB-68AE-4307-9B5F-60512B429BF0}" dt="2022-03-23T19:18:17.147" v="3274" actId="478"/>
          <ac:spMkLst>
            <pc:docMk/>
            <pc:sldMk cId="183289927" sldId="2146846131"/>
            <ac:spMk id="30" creationId="{E4989FD4-F5A5-4010-8128-EEE66D6C8FA9}"/>
          </ac:spMkLst>
        </pc:spChg>
        <pc:spChg chg="del">
          <ac:chgData name="Katerine Schifino" userId="37bb67de-9fcf-4611-888c-7e5b58184a2a" providerId="ADAL" clId="{D7BBC3CB-68AE-4307-9B5F-60512B429BF0}" dt="2022-03-23T20:32:31.792" v="3823" actId="478"/>
          <ac:spMkLst>
            <pc:docMk/>
            <pc:sldMk cId="183289927" sldId="2146846131"/>
            <ac:spMk id="31" creationId="{22C86BCD-FEA4-440C-830D-440B6362E335}"/>
          </ac:spMkLst>
        </pc:spChg>
        <pc:spChg chg="add mod">
          <ac:chgData name="Katerine Schifino" userId="37bb67de-9fcf-4611-888c-7e5b58184a2a" providerId="ADAL" clId="{D7BBC3CB-68AE-4307-9B5F-60512B429BF0}" dt="2022-03-23T20:29:26.949" v="3651" actId="164"/>
          <ac:spMkLst>
            <pc:docMk/>
            <pc:sldMk cId="183289927" sldId="2146846131"/>
            <ac:spMk id="34" creationId="{D296B0AC-FA73-4197-91F4-EA96AD1E030D}"/>
          </ac:spMkLst>
        </pc:spChg>
        <pc:spChg chg="add mod">
          <ac:chgData name="Katerine Schifino" userId="37bb67de-9fcf-4611-888c-7e5b58184a2a" providerId="ADAL" clId="{D7BBC3CB-68AE-4307-9B5F-60512B429BF0}" dt="2022-03-23T21:17:07.514" v="5092" actId="113"/>
          <ac:spMkLst>
            <pc:docMk/>
            <pc:sldMk cId="183289927" sldId="2146846131"/>
            <ac:spMk id="37" creationId="{6FE83AC4-C052-49C7-B409-A12A105CF3C5}"/>
          </ac:spMkLst>
        </pc:spChg>
        <pc:spChg chg="add mod">
          <ac:chgData name="Katerine Schifino" userId="37bb67de-9fcf-4611-888c-7e5b58184a2a" providerId="ADAL" clId="{D7BBC3CB-68AE-4307-9B5F-60512B429BF0}" dt="2022-03-23T21:14:02.362" v="5004" actId="1036"/>
          <ac:spMkLst>
            <pc:docMk/>
            <pc:sldMk cId="183289927" sldId="2146846131"/>
            <ac:spMk id="38" creationId="{9F637805-F0FB-49D0-816C-BFD0A27CFBFA}"/>
          </ac:spMkLst>
        </pc:spChg>
        <pc:spChg chg="add mod">
          <ac:chgData name="Katerine Schifino" userId="37bb67de-9fcf-4611-888c-7e5b58184a2a" providerId="ADAL" clId="{D7BBC3CB-68AE-4307-9B5F-60512B429BF0}" dt="2022-03-23T21:13:58.180" v="4988" actId="1035"/>
          <ac:spMkLst>
            <pc:docMk/>
            <pc:sldMk cId="183289927" sldId="2146846131"/>
            <ac:spMk id="39" creationId="{B47ACD29-B920-4C02-B145-117C44414EE0}"/>
          </ac:spMkLst>
        </pc:spChg>
        <pc:spChg chg="add mod">
          <ac:chgData name="Katerine Schifino" userId="37bb67de-9fcf-4611-888c-7e5b58184a2a" providerId="ADAL" clId="{D7BBC3CB-68AE-4307-9B5F-60512B429BF0}" dt="2022-03-23T21:13:50.820" v="4961" actId="1035"/>
          <ac:spMkLst>
            <pc:docMk/>
            <pc:sldMk cId="183289927" sldId="2146846131"/>
            <ac:spMk id="40" creationId="{1EFB2BC4-DCD9-4BBE-85CD-6E874E708F7E}"/>
          </ac:spMkLst>
        </pc:spChg>
        <pc:spChg chg="add mod">
          <ac:chgData name="Katerine Schifino" userId="37bb67de-9fcf-4611-888c-7e5b58184a2a" providerId="ADAL" clId="{D7BBC3CB-68AE-4307-9B5F-60512B429BF0}" dt="2022-03-23T21:14:02.362" v="5004" actId="1036"/>
          <ac:spMkLst>
            <pc:docMk/>
            <pc:sldMk cId="183289927" sldId="2146846131"/>
            <ac:spMk id="41" creationId="{085C9CC8-9FE1-4D4D-8F4D-CA6519036377}"/>
          </ac:spMkLst>
        </pc:spChg>
        <pc:spChg chg="add mod">
          <ac:chgData name="Katerine Schifino" userId="37bb67de-9fcf-4611-888c-7e5b58184a2a" providerId="ADAL" clId="{D7BBC3CB-68AE-4307-9B5F-60512B429BF0}" dt="2022-03-23T21:13:58.180" v="4988" actId="1035"/>
          <ac:spMkLst>
            <pc:docMk/>
            <pc:sldMk cId="183289927" sldId="2146846131"/>
            <ac:spMk id="42" creationId="{08F0BCA2-AC60-4D91-AE64-3259D89923AD}"/>
          </ac:spMkLst>
        </pc:spChg>
        <pc:spChg chg="add mod">
          <ac:chgData name="Katerine Schifino" userId="37bb67de-9fcf-4611-888c-7e5b58184a2a" providerId="ADAL" clId="{D7BBC3CB-68AE-4307-9B5F-60512B429BF0}" dt="2022-03-23T21:13:50.820" v="4961" actId="1035"/>
          <ac:spMkLst>
            <pc:docMk/>
            <pc:sldMk cId="183289927" sldId="2146846131"/>
            <ac:spMk id="43" creationId="{A9023C9B-DE12-4F70-84A4-868E09BBD91E}"/>
          </ac:spMkLst>
        </pc:spChg>
        <pc:spChg chg="add mod">
          <ac:chgData name="Katerine Schifino" userId="37bb67de-9fcf-4611-888c-7e5b58184a2a" providerId="ADAL" clId="{D7BBC3CB-68AE-4307-9B5F-60512B429BF0}" dt="2022-03-23T21:14:02.362" v="5004" actId="1036"/>
          <ac:spMkLst>
            <pc:docMk/>
            <pc:sldMk cId="183289927" sldId="2146846131"/>
            <ac:spMk id="44" creationId="{A8DED7F7-5D0D-46C2-B44E-480C6173B042}"/>
          </ac:spMkLst>
        </pc:spChg>
        <pc:spChg chg="add mod">
          <ac:chgData name="Katerine Schifino" userId="37bb67de-9fcf-4611-888c-7e5b58184a2a" providerId="ADAL" clId="{D7BBC3CB-68AE-4307-9B5F-60512B429BF0}" dt="2022-03-23T21:14:02.362" v="5004" actId="1036"/>
          <ac:spMkLst>
            <pc:docMk/>
            <pc:sldMk cId="183289927" sldId="2146846131"/>
            <ac:spMk id="45" creationId="{2FB71E4B-5C93-49D0-B4F9-D5D557832C67}"/>
          </ac:spMkLst>
        </pc:spChg>
        <pc:spChg chg="add mod">
          <ac:chgData name="Katerine Schifino" userId="37bb67de-9fcf-4611-888c-7e5b58184a2a" providerId="ADAL" clId="{D7BBC3CB-68AE-4307-9B5F-60512B429BF0}" dt="2022-03-23T21:13:58.180" v="4988" actId="1035"/>
          <ac:spMkLst>
            <pc:docMk/>
            <pc:sldMk cId="183289927" sldId="2146846131"/>
            <ac:spMk id="46" creationId="{1FA59CE8-49EC-4EFB-AA26-4D9BB9CD446C}"/>
          </ac:spMkLst>
        </pc:spChg>
        <pc:spChg chg="add mod">
          <ac:chgData name="Katerine Schifino" userId="37bb67de-9fcf-4611-888c-7e5b58184a2a" providerId="ADAL" clId="{D7BBC3CB-68AE-4307-9B5F-60512B429BF0}" dt="2022-03-23T21:13:58.180" v="4988" actId="1035"/>
          <ac:spMkLst>
            <pc:docMk/>
            <pc:sldMk cId="183289927" sldId="2146846131"/>
            <ac:spMk id="47" creationId="{43D377F3-EC34-4C92-BD09-E7D8D7BAD919}"/>
          </ac:spMkLst>
        </pc:spChg>
        <pc:spChg chg="add mod">
          <ac:chgData name="Katerine Schifino" userId="37bb67de-9fcf-4611-888c-7e5b58184a2a" providerId="ADAL" clId="{D7BBC3CB-68AE-4307-9B5F-60512B429BF0}" dt="2022-03-23T21:13:50.820" v="4961" actId="1035"/>
          <ac:spMkLst>
            <pc:docMk/>
            <pc:sldMk cId="183289927" sldId="2146846131"/>
            <ac:spMk id="48" creationId="{069EE235-0DBC-44D2-94ED-C8F4110FB350}"/>
          </ac:spMkLst>
        </pc:spChg>
        <pc:spChg chg="add mod">
          <ac:chgData name="Katerine Schifino" userId="37bb67de-9fcf-4611-888c-7e5b58184a2a" providerId="ADAL" clId="{D7BBC3CB-68AE-4307-9B5F-60512B429BF0}" dt="2022-03-23T21:13:50.820" v="4961" actId="1035"/>
          <ac:spMkLst>
            <pc:docMk/>
            <pc:sldMk cId="183289927" sldId="2146846131"/>
            <ac:spMk id="49" creationId="{39ABC239-5BAD-4410-A2ED-4CB262FD48AC}"/>
          </ac:spMkLst>
        </pc:spChg>
        <pc:spChg chg="add mod">
          <ac:chgData name="Katerine Schifino" userId="37bb67de-9fcf-4611-888c-7e5b58184a2a" providerId="ADAL" clId="{D7BBC3CB-68AE-4307-9B5F-60512B429BF0}" dt="2022-03-23T21:14:24.046" v="5015" actId="20577"/>
          <ac:spMkLst>
            <pc:docMk/>
            <pc:sldMk cId="183289927" sldId="2146846131"/>
            <ac:spMk id="50" creationId="{7D41C6F1-B031-4786-9B5F-63E1C0B55828}"/>
          </ac:spMkLst>
        </pc:spChg>
        <pc:spChg chg="add mod">
          <ac:chgData name="Katerine Schifino" userId="37bb67de-9fcf-4611-888c-7e5b58184a2a" providerId="ADAL" clId="{D7BBC3CB-68AE-4307-9B5F-60512B429BF0}" dt="2022-03-23T21:14:36.514" v="5019" actId="20577"/>
          <ac:spMkLst>
            <pc:docMk/>
            <pc:sldMk cId="183289927" sldId="2146846131"/>
            <ac:spMk id="51" creationId="{5D6B013A-2856-45A0-A354-A3B685C8DB4F}"/>
          </ac:spMkLst>
        </pc:spChg>
        <pc:spChg chg="add mod">
          <ac:chgData name="Katerine Schifino" userId="37bb67de-9fcf-4611-888c-7e5b58184a2a" providerId="ADAL" clId="{D7BBC3CB-68AE-4307-9B5F-60512B429BF0}" dt="2022-03-23T21:13:58.180" v="4988" actId="1035"/>
          <ac:spMkLst>
            <pc:docMk/>
            <pc:sldMk cId="183289927" sldId="2146846131"/>
            <ac:spMk id="52" creationId="{A7C364FC-CDB6-40B2-9422-2D97EE848DEC}"/>
          </ac:spMkLst>
        </pc:spChg>
        <pc:spChg chg="add mod">
          <ac:chgData name="Katerine Schifino" userId="37bb67de-9fcf-4611-888c-7e5b58184a2a" providerId="ADAL" clId="{D7BBC3CB-68AE-4307-9B5F-60512B429BF0}" dt="2022-03-23T21:13:58.180" v="4988" actId="1035"/>
          <ac:spMkLst>
            <pc:docMk/>
            <pc:sldMk cId="183289927" sldId="2146846131"/>
            <ac:spMk id="53" creationId="{916E5172-5444-40AC-B0E7-8EEB0C9A3C67}"/>
          </ac:spMkLst>
        </pc:spChg>
        <pc:spChg chg="add del mod">
          <ac:chgData name="Katerine Schifino" userId="37bb67de-9fcf-4611-888c-7e5b58184a2a" providerId="ADAL" clId="{D7BBC3CB-68AE-4307-9B5F-60512B429BF0}" dt="2022-03-23T20:42:48.392" v="4330"/>
          <ac:spMkLst>
            <pc:docMk/>
            <pc:sldMk cId="183289927" sldId="2146846131"/>
            <ac:spMk id="54" creationId="{3CCAA33B-5016-47BC-8684-CFE7440DAEE3}"/>
          </ac:spMkLst>
        </pc:spChg>
        <pc:spChg chg="add del mod">
          <ac:chgData name="Katerine Schifino" userId="37bb67de-9fcf-4611-888c-7e5b58184a2a" providerId="ADAL" clId="{D7BBC3CB-68AE-4307-9B5F-60512B429BF0}" dt="2022-03-23T20:42:59.495" v="4334" actId="478"/>
          <ac:spMkLst>
            <pc:docMk/>
            <pc:sldMk cId="183289927" sldId="2146846131"/>
            <ac:spMk id="55" creationId="{10F34C88-14DE-41E0-9698-AF99424A66F5}"/>
          </ac:spMkLst>
        </pc:spChg>
        <pc:grpChg chg="add mod">
          <ac:chgData name="Katerine Schifino" userId="37bb67de-9fcf-4611-888c-7e5b58184a2a" providerId="ADAL" clId="{D7BBC3CB-68AE-4307-9B5F-60512B429BF0}" dt="2022-03-23T20:29:25.869" v="3650" actId="164"/>
          <ac:grpSpMkLst>
            <pc:docMk/>
            <pc:sldMk cId="183289927" sldId="2146846131"/>
            <ac:grpSpMk id="2" creationId="{6EBB98B0-088F-40CE-B293-F54F99D37E13}"/>
          </ac:grpSpMkLst>
        </pc:grpChg>
        <pc:grpChg chg="add mod">
          <ac:chgData name="Katerine Schifino" userId="37bb67de-9fcf-4611-888c-7e5b58184a2a" providerId="ADAL" clId="{D7BBC3CB-68AE-4307-9B5F-60512B429BF0}" dt="2022-03-23T20:29:26.949" v="3651" actId="164"/>
          <ac:grpSpMkLst>
            <pc:docMk/>
            <pc:sldMk cId="183289927" sldId="2146846131"/>
            <ac:grpSpMk id="3" creationId="{E3B35940-3604-41DC-996B-A6F65C6BA5E9}"/>
          </ac:grpSpMkLst>
        </pc:grpChg>
        <pc:grpChg chg="del">
          <ac:chgData name="Katerine Schifino" userId="37bb67de-9fcf-4611-888c-7e5b58184a2a" providerId="ADAL" clId="{D7BBC3CB-68AE-4307-9B5F-60512B429BF0}" dt="2022-03-23T14:07:25.660" v="1683" actId="478"/>
          <ac:grpSpMkLst>
            <pc:docMk/>
            <pc:sldMk cId="183289927" sldId="2146846131"/>
            <ac:grpSpMk id="36" creationId="{66BD77E6-9247-4A8E-A007-E91B3D652549}"/>
          </ac:grpSpMkLst>
        </pc:grpChg>
        <pc:graphicFrameChg chg="add del mod modGraphic">
          <ac:chgData name="Katerine Schifino" userId="37bb67de-9fcf-4611-888c-7e5b58184a2a" providerId="ADAL" clId="{D7BBC3CB-68AE-4307-9B5F-60512B429BF0}" dt="2022-03-23T20:30:45.408" v="3695" actId="478"/>
          <ac:graphicFrameMkLst>
            <pc:docMk/>
            <pc:sldMk cId="183289927" sldId="2146846131"/>
            <ac:graphicFrameMk id="4" creationId="{09C511DA-83D1-4B13-BE75-3A50E987881C}"/>
          </ac:graphicFrameMkLst>
        </pc:graphicFrameChg>
        <pc:picChg chg="del">
          <ac:chgData name="Katerine Schifino" userId="37bb67de-9fcf-4611-888c-7e5b58184a2a" providerId="ADAL" clId="{D7BBC3CB-68AE-4307-9B5F-60512B429BF0}" dt="2022-03-23T14:07:25.660" v="1683" actId="478"/>
          <ac:picMkLst>
            <pc:docMk/>
            <pc:sldMk cId="183289927" sldId="2146846131"/>
            <ac:picMk id="8" creationId="{8902D530-99F3-492D-B38B-2F0220702DE5}"/>
          </ac:picMkLst>
        </pc:picChg>
        <pc:picChg chg="del mod">
          <ac:chgData name="Katerine Schifino" userId="37bb67de-9fcf-4611-888c-7e5b58184a2a" providerId="ADAL" clId="{D7BBC3CB-68AE-4307-9B5F-60512B429BF0}" dt="2022-03-23T14:20:56.020" v="1757" actId="478"/>
          <ac:picMkLst>
            <pc:docMk/>
            <pc:sldMk cId="183289927" sldId="2146846131"/>
            <ac:picMk id="10" creationId="{00000000-0000-0000-0000-000000000000}"/>
          </ac:picMkLst>
        </pc:picChg>
        <pc:picChg chg="del">
          <ac:chgData name="Katerine Schifino" userId="37bb67de-9fcf-4611-888c-7e5b58184a2a" providerId="ADAL" clId="{D7BBC3CB-68AE-4307-9B5F-60512B429BF0}" dt="2022-03-23T14:07:29.164" v="1685" actId="478"/>
          <ac:picMkLst>
            <pc:docMk/>
            <pc:sldMk cId="183289927" sldId="2146846131"/>
            <ac:picMk id="16" creationId="{00000000-0000-0000-0000-000000000000}"/>
          </ac:picMkLst>
        </pc:picChg>
        <pc:picChg chg="add mod">
          <ac:chgData name="Katerine Schifino" userId="37bb67de-9fcf-4611-888c-7e5b58184a2a" providerId="ADAL" clId="{D7BBC3CB-68AE-4307-9B5F-60512B429BF0}" dt="2022-03-23T20:29:26.949" v="3651" actId="164"/>
          <ac:picMkLst>
            <pc:docMk/>
            <pc:sldMk cId="183289927" sldId="2146846131"/>
            <ac:picMk id="32" creationId="{7B527430-D772-49FA-9FF5-4B1F7DEC31A5}"/>
          </ac:picMkLst>
        </pc:picChg>
        <pc:picChg chg="del">
          <ac:chgData name="Katerine Schifino" userId="37bb67de-9fcf-4611-888c-7e5b58184a2a" providerId="ADAL" clId="{D7BBC3CB-68AE-4307-9B5F-60512B429BF0}" dt="2022-03-23T14:07:25.660" v="1683" actId="478"/>
          <ac:picMkLst>
            <pc:docMk/>
            <pc:sldMk cId="183289927" sldId="2146846131"/>
            <ac:picMk id="33" creationId="{1A0F90CB-D898-47F9-8E1C-9794B06118B0}"/>
          </ac:picMkLst>
        </pc:picChg>
        <pc:cxnChg chg="add mod">
          <ac:chgData name="Katerine Schifino" userId="37bb67de-9fcf-4611-888c-7e5b58184a2a" providerId="ADAL" clId="{D7BBC3CB-68AE-4307-9B5F-60512B429BF0}" dt="2022-03-23T20:31:28.416" v="3748" actId="1038"/>
          <ac:cxnSpMkLst>
            <pc:docMk/>
            <pc:sldMk cId="183289927" sldId="2146846131"/>
            <ac:cxnSpMk id="6" creationId="{0C3186FD-E31F-423A-A4E8-BB3F3245CD0F}"/>
          </ac:cxnSpMkLst>
        </pc:cxnChg>
      </pc:sldChg>
      <pc:sldChg chg="addSp delSp modSp add mod modClrScheme chgLayout">
        <pc:chgData name="Katerine Schifino" userId="37bb67de-9fcf-4611-888c-7e5b58184a2a" providerId="ADAL" clId="{D7BBC3CB-68AE-4307-9B5F-60512B429BF0}" dt="2022-03-23T23:52:32.697" v="9542" actId="1035"/>
        <pc:sldMkLst>
          <pc:docMk/>
          <pc:sldMk cId="2121835659" sldId="2146846132"/>
        </pc:sldMkLst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5" creationId="{15A8DF3A-44DA-41D2-B36C-918789273E56}"/>
          </ac:spMkLst>
        </pc:spChg>
        <pc:spChg chg="mod">
          <ac:chgData name="Katerine Schifino" userId="37bb67de-9fcf-4611-888c-7e5b58184a2a" providerId="ADAL" clId="{D7BBC3CB-68AE-4307-9B5F-60512B429BF0}" dt="2022-03-23T23:52:28.488" v="9534" actId="20577"/>
          <ac:spMkLst>
            <pc:docMk/>
            <pc:sldMk cId="2121835659" sldId="2146846132"/>
            <ac:spMk id="6" creationId="{112348B3-0062-49E3-BCA2-B30B6A7D3857}"/>
          </ac:spMkLst>
        </pc:spChg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7" creationId="{4428E57D-2C53-44AD-A73F-F279A91A0299}"/>
          </ac:spMkLst>
        </pc:spChg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8" creationId="{785A6515-4DBC-4AE7-99FA-B1CE2AF2118B}"/>
          </ac:spMkLst>
        </pc:spChg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9" creationId="{F7B3A631-B608-4EA7-800D-5A5B2B826CDC}"/>
          </ac:spMkLst>
        </pc:spChg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10" creationId="{A954AE6A-A630-478A-9E5B-ED3B397ABF0B}"/>
          </ac:spMkLst>
        </pc:spChg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11" creationId="{65B24496-2568-4B4A-8D63-A134EC63B924}"/>
          </ac:spMkLst>
        </pc:spChg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12" creationId="{62E22097-3D80-4D4A-BFB7-2B65B0C39E8B}"/>
          </ac:spMkLst>
        </pc:spChg>
        <pc:spChg chg="add mod">
          <ac:chgData name="Katerine Schifino" userId="37bb67de-9fcf-4611-888c-7e5b58184a2a" providerId="ADAL" clId="{D7BBC3CB-68AE-4307-9B5F-60512B429BF0}" dt="2022-03-23T23:52:32.697" v="9542" actId="1035"/>
          <ac:spMkLst>
            <pc:docMk/>
            <pc:sldMk cId="2121835659" sldId="2146846132"/>
            <ac:spMk id="13" creationId="{67B387A4-2918-4F25-8105-1F4861F39F75}"/>
          </ac:spMkLst>
        </pc:spChg>
        <pc:spChg chg="add mod">
          <ac:chgData name="Katerine Schifino" userId="37bb67de-9fcf-4611-888c-7e5b58184a2a" providerId="ADAL" clId="{D7BBC3CB-68AE-4307-9B5F-60512B429BF0}" dt="2022-03-23T16:33:08.568" v="2558" actId="1076"/>
          <ac:spMkLst>
            <pc:docMk/>
            <pc:sldMk cId="2121835659" sldId="2146846132"/>
            <ac:spMk id="14" creationId="{AAD841DA-0B2B-4C3A-8EFC-48C651693FFC}"/>
          </ac:spMkLst>
        </pc:spChg>
        <pc:picChg chg="del">
          <ac:chgData name="Katerine Schifino" userId="37bb67de-9fcf-4611-888c-7e5b58184a2a" providerId="ADAL" clId="{D7BBC3CB-68AE-4307-9B5F-60512B429BF0}" dt="2022-03-23T16:23:11.828" v="2443" actId="478"/>
          <ac:picMkLst>
            <pc:docMk/>
            <pc:sldMk cId="2121835659" sldId="2146846132"/>
            <ac:picMk id="5124" creationId="{3AF1774A-4826-4DB3-A8CA-AAEA509EEBC6}"/>
          </ac:picMkLst>
        </pc:picChg>
      </pc:sldChg>
      <pc:sldChg chg="addSp delSp modSp add mod modClrScheme chgLayout">
        <pc:chgData name="Katerine Schifino" userId="37bb67de-9fcf-4611-888c-7e5b58184a2a" providerId="ADAL" clId="{D7BBC3CB-68AE-4307-9B5F-60512B429BF0}" dt="2022-03-23T19:09:55.414" v="3155" actId="13926"/>
        <pc:sldMkLst>
          <pc:docMk/>
          <pc:sldMk cId="126793636" sldId="2146846133"/>
        </pc:sldMkLst>
        <pc:spChg chg="add mod">
          <ac:chgData name="Katerine Schifino" userId="37bb67de-9fcf-4611-888c-7e5b58184a2a" providerId="ADAL" clId="{D7BBC3CB-68AE-4307-9B5F-60512B429BF0}" dt="2022-03-23T19:08:55.420" v="3146" actId="403"/>
          <ac:spMkLst>
            <pc:docMk/>
            <pc:sldMk cId="126793636" sldId="2146846133"/>
            <ac:spMk id="7" creationId="{0CADDD27-31EC-44C6-9DB6-421E7976899F}"/>
          </ac:spMkLst>
        </pc:spChg>
        <pc:spChg chg="add mod">
          <ac:chgData name="Katerine Schifino" userId="37bb67de-9fcf-4611-888c-7e5b58184a2a" providerId="ADAL" clId="{D7BBC3CB-68AE-4307-9B5F-60512B429BF0}" dt="2022-03-23T19:09:55.414" v="3155" actId="13926"/>
          <ac:spMkLst>
            <pc:docMk/>
            <pc:sldMk cId="126793636" sldId="2146846133"/>
            <ac:spMk id="8" creationId="{F8E5689C-2193-43FC-8C21-EF0B6D1B69BE}"/>
          </ac:spMkLst>
        </pc:spChg>
        <pc:spChg chg="mod">
          <ac:chgData name="Katerine Schifino" userId="37bb67de-9fcf-4611-888c-7e5b58184a2a" providerId="ADAL" clId="{D7BBC3CB-68AE-4307-9B5F-60512B429BF0}" dt="2022-03-23T19:04:23.613" v="2763" actId="1076"/>
          <ac:spMkLst>
            <pc:docMk/>
            <pc:sldMk cId="126793636" sldId="2146846133"/>
            <ac:spMk id="145" creationId="{1597BE75-79C6-4C1B-9721-0E1BBD8760D8}"/>
          </ac:spMkLst>
        </pc:spChg>
        <pc:graphicFrameChg chg="del">
          <ac:chgData name="Katerine Schifino" userId="37bb67de-9fcf-4611-888c-7e5b58184a2a" providerId="ADAL" clId="{D7BBC3CB-68AE-4307-9B5F-60512B429BF0}" dt="2022-03-23T18:58:10.367" v="2598" actId="478"/>
          <ac:graphicFrameMkLst>
            <pc:docMk/>
            <pc:sldMk cId="126793636" sldId="2146846133"/>
            <ac:graphicFrameMk id="2" creationId="{DABEA71B-03AC-48AD-8E3A-F5B4F36922D0}"/>
          </ac:graphicFrameMkLst>
        </pc:graphicFrameChg>
        <pc:picChg chg="add del mod">
          <ac:chgData name="Katerine Schifino" userId="37bb67de-9fcf-4611-888c-7e5b58184a2a" providerId="ADAL" clId="{D7BBC3CB-68AE-4307-9B5F-60512B429BF0}" dt="2022-03-23T19:02:19.965" v="2646" actId="478"/>
          <ac:picMkLst>
            <pc:docMk/>
            <pc:sldMk cId="126793636" sldId="2146846133"/>
            <ac:picMk id="1026" creationId="{A978A341-CE34-44F7-999D-8EAF38D1F957}"/>
          </ac:picMkLst>
        </pc:picChg>
        <pc:picChg chg="add mod">
          <ac:chgData name="Katerine Schifino" userId="37bb67de-9fcf-4611-888c-7e5b58184a2a" providerId="ADAL" clId="{D7BBC3CB-68AE-4307-9B5F-60512B429BF0}" dt="2022-03-23T19:08:58.820" v="3147" actId="14100"/>
          <ac:picMkLst>
            <pc:docMk/>
            <pc:sldMk cId="126793636" sldId="2146846133"/>
            <ac:picMk id="1028" creationId="{80FAAF83-C911-4648-B4ED-F4E147D14B5B}"/>
          </ac:picMkLst>
        </pc:picChg>
        <pc:cxnChg chg="del">
          <ac:chgData name="Katerine Schifino" userId="37bb67de-9fcf-4611-888c-7e5b58184a2a" providerId="ADAL" clId="{D7BBC3CB-68AE-4307-9B5F-60512B429BF0}" dt="2022-03-23T18:58:28.241" v="2601" actId="478"/>
          <ac:cxnSpMkLst>
            <pc:docMk/>
            <pc:sldMk cId="126793636" sldId="2146846133"/>
            <ac:cxnSpMk id="9" creationId="{9E5C6AC8-A058-496E-AF83-5C015EC4396D}"/>
          </ac:cxnSpMkLst>
        </pc:cxnChg>
      </pc:sldChg>
      <pc:sldChg chg="addSp delSp modSp add mod">
        <pc:chgData name="Katerine Schifino" userId="37bb67de-9fcf-4611-888c-7e5b58184a2a" providerId="ADAL" clId="{D7BBC3CB-68AE-4307-9B5F-60512B429BF0}" dt="2022-03-23T21:17:38.624" v="5135" actId="1036"/>
        <pc:sldMkLst>
          <pc:docMk/>
          <pc:sldMk cId="2897237463" sldId="2146846134"/>
        </pc:sldMkLst>
        <pc:spChg chg="del mod">
          <ac:chgData name="Katerine Schifino" userId="37bb67de-9fcf-4611-888c-7e5b58184a2a" providerId="ADAL" clId="{D7BBC3CB-68AE-4307-9B5F-60512B429BF0}" dt="2022-03-23T21:17:24.383" v="5101"/>
          <ac:spMkLst>
            <pc:docMk/>
            <pc:sldMk cId="2897237463" sldId="2146846134"/>
            <ac:spMk id="7" creationId="{B3934FC6-F527-444C-9050-A9ECA6CF635F}"/>
          </ac:spMkLst>
        </pc:spChg>
        <pc:spChg chg="mod">
          <ac:chgData name="Katerine Schifino" userId="37bb67de-9fcf-4611-888c-7e5b58184a2a" providerId="ADAL" clId="{D7BBC3CB-68AE-4307-9B5F-60512B429BF0}" dt="2022-03-23T21:17:31.668" v="5121" actId="1035"/>
          <ac:spMkLst>
            <pc:docMk/>
            <pc:sldMk cId="2897237463" sldId="2146846134"/>
            <ac:spMk id="20" creationId="{9ADF1B7E-0958-4ED6-9413-88B4915CF8A8}"/>
          </ac:spMkLst>
        </pc:spChg>
        <pc:spChg chg="mod">
          <ac:chgData name="Katerine Schifino" userId="37bb67de-9fcf-4611-888c-7e5b58184a2a" providerId="ADAL" clId="{D7BBC3CB-68AE-4307-9B5F-60512B429BF0}" dt="2022-03-23T21:17:31.668" v="5121" actId="1035"/>
          <ac:spMkLst>
            <pc:docMk/>
            <pc:sldMk cId="2897237463" sldId="2146846134"/>
            <ac:spMk id="24" creationId="{1CD37BB6-74CD-4C39-B0B9-2B4CB7DFB18B}"/>
          </ac:spMkLst>
        </pc:spChg>
        <pc:spChg chg="add mod">
          <ac:chgData name="Katerine Schifino" userId="37bb67de-9fcf-4611-888c-7e5b58184a2a" providerId="ADAL" clId="{D7BBC3CB-68AE-4307-9B5F-60512B429BF0}" dt="2022-03-23T21:17:23.982" v="5099" actId="207"/>
          <ac:spMkLst>
            <pc:docMk/>
            <pc:sldMk cId="2897237463" sldId="2146846134"/>
            <ac:spMk id="27" creationId="{B5ECC814-57B4-48D7-85E4-4EA4DF740BDC}"/>
          </ac:spMkLst>
        </pc:spChg>
        <pc:spChg chg="del">
          <ac:chgData name="Katerine Schifino" userId="37bb67de-9fcf-4611-888c-7e5b58184a2a" providerId="ADAL" clId="{D7BBC3CB-68AE-4307-9B5F-60512B429BF0}" dt="2022-03-23T21:17:12.443" v="5093" actId="478"/>
          <ac:spMkLst>
            <pc:docMk/>
            <pc:sldMk cId="2897237463" sldId="2146846134"/>
            <ac:spMk id="37" creationId="{6FE83AC4-C052-49C7-B409-A12A105CF3C5}"/>
          </ac:spMkLst>
        </pc:spChg>
        <pc:spChg chg="mod">
          <ac:chgData name="Katerine Schifino" userId="37bb67de-9fcf-4611-888c-7e5b58184a2a" providerId="ADAL" clId="{D7BBC3CB-68AE-4307-9B5F-60512B429BF0}" dt="2022-03-23T21:17:38.624" v="5135" actId="1036"/>
          <ac:spMkLst>
            <pc:docMk/>
            <pc:sldMk cId="2897237463" sldId="2146846134"/>
            <ac:spMk id="38" creationId="{9F637805-F0FB-49D0-816C-BFD0A27CFBFA}"/>
          </ac:spMkLst>
        </pc:spChg>
        <pc:spChg chg="mod">
          <ac:chgData name="Katerine Schifino" userId="37bb67de-9fcf-4611-888c-7e5b58184a2a" providerId="ADAL" clId="{D7BBC3CB-68AE-4307-9B5F-60512B429BF0}" dt="2022-03-23T20:52:18.663" v="4634" actId="1036"/>
          <ac:spMkLst>
            <pc:docMk/>
            <pc:sldMk cId="2897237463" sldId="2146846134"/>
            <ac:spMk id="39" creationId="{B47ACD29-B920-4C02-B145-117C44414EE0}"/>
          </ac:spMkLst>
        </pc:spChg>
        <pc:spChg chg="mod">
          <ac:chgData name="Katerine Schifino" userId="37bb67de-9fcf-4611-888c-7e5b58184a2a" providerId="ADAL" clId="{D7BBC3CB-68AE-4307-9B5F-60512B429BF0}" dt="2022-03-23T21:17:31.668" v="5121" actId="1035"/>
          <ac:spMkLst>
            <pc:docMk/>
            <pc:sldMk cId="2897237463" sldId="2146846134"/>
            <ac:spMk id="40" creationId="{1EFB2BC4-DCD9-4BBE-85CD-6E874E708F7E}"/>
          </ac:spMkLst>
        </pc:spChg>
        <pc:spChg chg="mod">
          <ac:chgData name="Katerine Schifino" userId="37bb67de-9fcf-4611-888c-7e5b58184a2a" providerId="ADAL" clId="{D7BBC3CB-68AE-4307-9B5F-60512B429BF0}" dt="2022-03-23T21:17:38.624" v="5135" actId="1036"/>
          <ac:spMkLst>
            <pc:docMk/>
            <pc:sldMk cId="2897237463" sldId="2146846134"/>
            <ac:spMk id="41" creationId="{085C9CC8-9FE1-4D4D-8F4D-CA6519036377}"/>
          </ac:spMkLst>
        </pc:spChg>
        <pc:spChg chg="mod">
          <ac:chgData name="Katerine Schifino" userId="37bb67de-9fcf-4611-888c-7e5b58184a2a" providerId="ADAL" clId="{D7BBC3CB-68AE-4307-9B5F-60512B429BF0}" dt="2022-03-23T20:52:29.899" v="4636" actId="1076"/>
          <ac:spMkLst>
            <pc:docMk/>
            <pc:sldMk cId="2897237463" sldId="2146846134"/>
            <ac:spMk id="42" creationId="{08F0BCA2-AC60-4D91-AE64-3259D89923AD}"/>
          </ac:spMkLst>
        </pc:spChg>
        <pc:spChg chg="mod">
          <ac:chgData name="Katerine Schifino" userId="37bb67de-9fcf-4611-888c-7e5b58184a2a" providerId="ADAL" clId="{D7BBC3CB-68AE-4307-9B5F-60512B429BF0}" dt="2022-03-23T21:17:31.668" v="5121" actId="1035"/>
          <ac:spMkLst>
            <pc:docMk/>
            <pc:sldMk cId="2897237463" sldId="2146846134"/>
            <ac:spMk id="43" creationId="{A9023C9B-DE12-4F70-84A4-868E09BBD91E}"/>
          </ac:spMkLst>
        </pc:spChg>
        <pc:spChg chg="mod">
          <ac:chgData name="Katerine Schifino" userId="37bb67de-9fcf-4611-888c-7e5b58184a2a" providerId="ADAL" clId="{D7BBC3CB-68AE-4307-9B5F-60512B429BF0}" dt="2022-03-23T21:17:38.624" v="5135" actId="1036"/>
          <ac:spMkLst>
            <pc:docMk/>
            <pc:sldMk cId="2897237463" sldId="2146846134"/>
            <ac:spMk id="44" creationId="{A8DED7F7-5D0D-46C2-B44E-480C6173B042}"/>
          </ac:spMkLst>
        </pc:spChg>
        <pc:spChg chg="mod">
          <ac:chgData name="Katerine Schifino" userId="37bb67de-9fcf-4611-888c-7e5b58184a2a" providerId="ADAL" clId="{D7BBC3CB-68AE-4307-9B5F-60512B429BF0}" dt="2022-03-23T21:17:38.624" v="5135" actId="1036"/>
          <ac:spMkLst>
            <pc:docMk/>
            <pc:sldMk cId="2897237463" sldId="2146846134"/>
            <ac:spMk id="45" creationId="{2FB71E4B-5C93-49D0-B4F9-D5D557832C67}"/>
          </ac:spMkLst>
        </pc:spChg>
        <pc:spChg chg="mod">
          <ac:chgData name="Katerine Schifino" userId="37bb67de-9fcf-4611-888c-7e5b58184a2a" providerId="ADAL" clId="{D7BBC3CB-68AE-4307-9B5F-60512B429BF0}" dt="2022-03-23T20:58:42.385" v="4891" actId="20577"/>
          <ac:spMkLst>
            <pc:docMk/>
            <pc:sldMk cId="2897237463" sldId="2146846134"/>
            <ac:spMk id="46" creationId="{1FA59CE8-49EC-4EFB-AA26-4D9BB9CD446C}"/>
          </ac:spMkLst>
        </pc:spChg>
        <pc:spChg chg="mod">
          <ac:chgData name="Katerine Schifino" userId="37bb67de-9fcf-4611-888c-7e5b58184a2a" providerId="ADAL" clId="{D7BBC3CB-68AE-4307-9B5F-60512B429BF0}" dt="2022-03-23T20:52:15.336" v="4620" actId="1036"/>
          <ac:spMkLst>
            <pc:docMk/>
            <pc:sldMk cId="2897237463" sldId="2146846134"/>
            <ac:spMk id="47" creationId="{43D377F3-EC34-4C92-BD09-E7D8D7BAD919}"/>
          </ac:spMkLst>
        </pc:spChg>
        <pc:spChg chg="mod">
          <ac:chgData name="Katerine Schifino" userId="37bb67de-9fcf-4611-888c-7e5b58184a2a" providerId="ADAL" clId="{D7BBC3CB-68AE-4307-9B5F-60512B429BF0}" dt="2022-03-23T21:17:31.668" v="5121" actId="1035"/>
          <ac:spMkLst>
            <pc:docMk/>
            <pc:sldMk cId="2897237463" sldId="2146846134"/>
            <ac:spMk id="48" creationId="{069EE235-0DBC-44D2-94ED-C8F4110FB350}"/>
          </ac:spMkLst>
        </pc:spChg>
        <pc:spChg chg="mod">
          <ac:chgData name="Katerine Schifino" userId="37bb67de-9fcf-4611-888c-7e5b58184a2a" providerId="ADAL" clId="{D7BBC3CB-68AE-4307-9B5F-60512B429BF0}" dt="2022-03-23T21:17:31.668" v="5121" actId="1035"/>
          <ac:spMkLst>
            <pc:docMk/>
            <pc:sldMk cId="2897237463" sldId="2146846134"/>
            <ac:spMk id="49" creationId="{39ABC239-5BAD-4410-A2ED-4CB262FD48AC}"/>
          </ac:spMkLst>
        </pc:spChg>
        <pc:spChg chg="mod">
          <ac:chgData name="Katerine Schifino" userId="37bb67de-9fcf-4611-888c-7e5b58184a2a" providerId="ADAL" clId="{D7BBC3CB-68AE-4307-9B5F-60512B429BF0}" dt="2022-03-23T21:17:38.624" v="5135" actId="1036"/>
          <ac:spMkLst>
            <pc:docMk/>
            <pc:sldMk cId="2897237463" sldId="2146846134"/>
            <ac:spMk id="50" creationId="{7D41C6F1-B031-4786-9B5F-63E1C0B55828}"/>
          </ac:spMkLst>
        </pc:spChg>
        <pc:spChg chg="mod">
          <ac:chgData name="Katerine Schifino" userId="37bb67de-9fcf-4611-888c-7e5b58184a2a" providerId="ADAL" clId="{D7BBC3CB-68AE-4307-9B5F-60512B429BF0}" dt="2022-03-23T21:17:38.624" v="5135" actId="1036"/>
          <ac:spMkLst>
            <pc:docMk/>
            <pc:sldMk cId="2897237463" sldId="2146846134"/>
            <ac:spMk id="51" creationId="{5D6B013A-2856-45A0-A354-A3B685C8DB4F}"/>
          </ac:spMkLst>
        </pc:spChg>
        <pc:spChg chg="mod">
          <ac:chgData name="Katerine Schifino" userId="37bb67de-9fcf-4611-888c-7e5b58184a2a" providerId="ADAL" clId="{D7BBC3CB-68AE-4307-9B5F-60512B429BF0}" dt="2022-03-23T20:54:47.957" v="4720" actId="20577"/>
          <ac:spMkLst>
            <pc:docMk/>
            <pc:sldMk cId="2897237463" sldId="2146846134"/>
            <ac:spMk id="52" creationId="{A7C364FC-CDB6-40B2-9422-2D97EE848DEC}"/>
          </ac:spMkLst>
        </pc:spChg>
        <pc:spChg chg="mod">
          <ac:chgData name="Katerine Schifino" userId="37bb67de-9fcf-4611-888c-7e5b58184a2a" providerId="ADAL" clId="{D7BBC3CB-68AE-4307-9B5F-60512B429BF0}" dt="2022-03-23T20:56:27.376" v="4868" actId="6549"/>
          <ac:spMkLst>
            <pc:docMk/>
            <pc:sldMk cId="2897237463" sldId="2146846134"/>
            <ac:spMk id="53" creationId="{916E5172-5444-40AC-B0E7-8EEB0C9A3C67}"/>
          </ac:spMkLst>
        </pc:spChg>
      </pc:sldChg>
      <pc:sldChg chg="addSp delSp modSp add mod ord modNotesTx">
        <pc:chgData name="Katerine Schifino" userId="37bb67de-9fcf-4611-888c-7e5b58184a2a" providerId="ADAL" clId="{D7BBC3CB-68AE-4307-9B5F-60512B429BF0}" dt="2022-03-23T23:41:21.001" v="9518" actId="20577"/>
        <pc:sldMkLst>
          <pc:docMk/>
          <pc:sldMk cId="3424299804" sldId="2146846135"/>
        </pc:sldMkLst>
        <pc:spChg chg="del">
          <ac:chgData name="Katerine Schifino" userId="37bb67de-9fcf-4611-888c-7e5b58184a2a" providerId="ADAL" clId="{D7BBC3CB-68AE-4307-9B5F-60512B429BF0}" dt="2022-03-23T21:41:02.370" v="5613" actId="478"/>
          <ac:spMkLst>
            <pc:docMk/>
            <pc:sldMk cId="3424299804" sldId="2146846135"/>
            <ac:spMk id="3" creationId="{F37952A8-26A7-4620-BB6E-749B2F7FE437}"/>
          </ac:spMkLst>
        </pc:spChg>
        <pc:spChg chg="mod">
          <ac:chgData name="Katerine Schifino" userId="37bb67de-9fcf-4611-888c-7e5b58184a2a" providerId="ADAL" clId="{D7BBC3CB-68AE-4307-9B5F-60512B429BF0}" dt="2022-03-23T23:33:16.337" v="8931" actId="114"/>
          <ac:spMkLst>
            <pc:docMk/>
            <pc:sldMk cId="3424299804" sldId="2146846135"/>
            <ac:spMk id="4" creationId="{CD3B507D-B343-498F-97D5-78CBF4589AAB}"/>
          </ac:spMkLst>
        </pc:spChg>
        <pc:spChg chg="add mod">
          <ac:chgData name="Katerine Schifino" userId="37bb67de-9fcf-4611-888c-7e5b58184a2a" providerId="ADAL" clId="{D7BBC3CB-68AE-4307-9B5F-60512B429BF0}" dt="2022-03-23T23:29:16.960" v="8818" actId="14100"/>
          <ac:spMkLst>
            <pc:docMk/>
            <pc:sldMk cId="3424299804" sldId="2146846135"/>
            <ac:spMk id="29" creationId="{AC912CE1-71EF-4250-8EA0-0DDA67063F18}"/>
          </ac:spMkLst>
        </pc:spChg>
        <pc:spChg chg="del">
          <ac:chgData name="Katerine Schifino" userId="37bb67de-9fcf-4611-888c-7e5b58184a2a" providerId="ADAL" clId="{D7BBC3CB-68AE-4307-9B5F-60512B429BF0}" dt="2022-03-23T21:41:02.370" v="5613" actId="478"/>
          <ac:spMkLst>
            <pc:docMk/>
            <pc:sldMk cId="3424299804" sldId="2146846135"/>
            <ac:spMk id="55" creationId="{693BE602-C9B4-412A-8447-FDCBB931768E}"/>
          </ac:spMkLst>
        </pc:spChg>
        <pc:spChg chg="add mod">
          <ac:chgData name="Katerine Schifino" userId="37bb67de-9fcf-4611-888c-7e5b58184a2a" providerId="ADAL" clId="{D7BBC3CB-68AE-4307-9B5F-60512B429BF0}" dt="2022-03-23T23:29:09.220" v="8816" actId="403"/>
          <ac:spMkLst>
            <pc:docMk/>
            <pc:sldMk cId="3424299804" sldId="2146846135"/>
            <ac:spMk id="56" creationId="{B46C1083-1642-4043-8CB4-E3CEDA2CFB1E}"/>
          </ac:spMkLst>
        </pc:spChg>
        <pc:spChg chg="add mod">
          <ac:chgData name="Katerine Schifino" userId="37bb67de-9fcf-4611-888c-7e5b58184a2a" providerId="ADAL" clId="{D7BBC3CB-68AE-4307-9B5F-60512B429BF0}" dt="2022-03-23T23:33:32.609" v="8935" actId="1076"/>
          <ac:spMkLst>
            <pc:docMk/>
            <pc:sldMk cId="3424299804" sldId="2146846135"/>
            <ac:spMk id="64" creationId="{E2A1B381-8D93-4A35-BB90-6547B7AF5416}"/>
          </ac:spMkLst>
        </pc:spChg>
        <pc:spChg chg="add mod">
          <ac:chgData name="Katerine Schifino" userId="37bb67de-9fcf-4611-888c-7e5b58184a2a" providerId="ADAL" clId="{D7BBC3CB-68AE-4307-9B5F-60512B429BF0}" dt="2022-03-23T23:37:47.504" v="9117" actId="113"/>
          <ac:spMkLst>
            <pc:docMk/>
            <pc:sldMk cId="3424299804" sldId="2146846135"/>
            <ac:spMk id="65" creationId="{2D059A3F-9F75-4168-8707-F65A92010CB3}"/>
          </ac:spMkLst>
        </pc:spChg>
        <pc:spChg chg="add mod">
          <ac:chgData name="Katerine Schifino" userId="37bb67de-9fcf-4611-888c-7e5b58184a2a" providerId="ADAL" clId="{D7BBC3CB-68AE-4307-9B5F-60512B429BF0}" dt="2022-03-23T23:40:07.659" v="9367" actId="20577"/>
          <ac:spMkLst>
            <pc:docMk/>
            <pc:sldMk cId="3424299804" sldId="2146846135"/>
            <ac:spMk id="66" creationId="{3DD6027A-F97B-4C13-8192-41677BFDC63C}"/>
          </ac:spMkLst>
        </pc:spChg>
        <pc:spChg chg="add mod">
          <ac:chgData name="Katerine Schifino" userId="37bb67de-9fcf-4611-888c-7e5b58184a2a" providerId="ADAL" clId="{D7BBC3CB-68AE-4307-9B5F-60512B429BF0}" dt="2022-03-23T23:40:31.754" v="9396" actId="20577"/>
          <ac:spMkLst>
            <pc:docMk/>
            <pc:sldMk cId="3424299804" sldId="2146846135"/>
            <ac:spMk id="67" creationId="{E1A64BB7-1DB4-41FC-9EB1-B443634F2116}"/>
          </ac:spMkLst>
        </pc:spChg>
        <pc:spChg chg="add mod">
          <ac:chgData name="Katerine Schifino" userId="37bb67de-9fcf-4611-888c-7e5b58184a2a" providerId="ADAL" clId="{D7BBC3CB-68AE-4307-9B5F-60512B429BF0}" dt="2022-03-23T23:41:21.001" v="9518" actId="20577"/>
          <ac:spMkLst>
            <pc:docMk/>
            <pc:sldMk cId="3424299804" sldId="2146846135"/>
            <ac:spMk id="68" creationId="{6BDF7D48-EAED-4B84-A1DC-098864858910}"/>
          </ac:spMkLst>
        </pc:spChg>
        <pc:grpChg chg="del">
          <ac:chgData name="Katerine Schifino" userId="37bb67de-9fcf-4611-888c-7e5b58184a2a" providerId="ADAL" clId="{D7BBC3CB-68AE-4307-9B5F-60512B429BF0}" dt="2022-03-23T21:13:17.550" v="4927" actId="478"/>
          <ac:grpSpMkLst>
            <pc:docMk/>
            <pc:sldMk cId="3424299804" sldId="2146846135"/>
            <ac:grpSpMk id="6" creationId="{261DB4A7-4C07-46D7-916D-B61EDC194383}"/>
          </ac:grpSpMkLst>
        </pc:grpChg>
        <pc:grpChg chg="del">
          <ac:chgData name="Katerine Schifino" userId="37bb67de-9fcf-4611-888c-7e5b58184a2a" providerId="ADAL" clId="{D7BBC3CB-68AE-4307-9B5F-60512B429BF0}" dt="2022-03-23T21:41:02.370" v="5613" actId="478"/>
          <ac:grpSpMkLst>
            <pc:docMk/>
            <pc:sldMk cId="3424299804" sldId="2146846135"/>
            <ac:grpSpMk id="54" creationId="{C8CACEA6-0212-4EFD-B253-05AA389E4D94}"/>
          </ac:grpSpMkLst>
        </pc:grpChg>
        <pc:picChg chg="add del mod">
          <ac:chgData name="Katerine Schifino" userId="37bb67de-9fcf-4611-888c-7e5b58184a2a" providerId="ADAL" clId="{D7BBC3CB-68AE-4307-9B5F-60512B429BF0}" dt="2022-03-23T23:07:54.172" v="8527" actId="478"/>
          <ac:picMkLst>
            <pc:docMk/>
            <pc:sldMk cId="3424299804" sldId="2146846135"/>
            <ac:picMk id="24" creationId="{EA8C8C83-03CB-4FA8-B4BC-BCB9DB1F314E}"/>
          </ac:picMkLst>
        </pc:picChg>
        <pc:picChg chg="add del mod">
          <ac:chgData name="Katerine Schifino" userId="37bb67de-9fcf-4611-888c-7e5b58184a2a" providerId="ADAL" clId="{D7BBC3CB-68AE-4307-9B5F-60512B429BF0}" dt="2022-03-23T23:39:44.801" v="9347" actId="478"/>
          <ac:picMkLst>
            <pc:docMk/>
            <pc:sldMk cId="3424299804" sldId="2146846135"/>
            <ac:picMk id="26" creationId="{6A687DC8-5D87-4050-999A-B5733A0AED45}"/>
          </ac:picMkLst>
        </pc:picChg>
        <pc:picChg chg="add mod">
          <ac:chgData name="Katerine Schifino" userId="37bb67de-9fcf-4611-888c-7e5b58184a2a" providerId="ADAL" clId="{D7BBC3CB-68AE-4307-9B5F-60512B429BF0}" dt="2022-03-23T23:27:27.952" v="8716" actId="1076"/>
          <ac:picMkLst>
            <pc:docMk/>
            <pc:sldMk cId="3424299804" sldId="2146846135"/>
            <ac:picMk id="28" creationId="{3293A6C5-7385-47C4-92CA-7B83DA47BCB5}"/>
          </ac:picMkLst>
        </pc:picChg>
        <pc:picChg chg="add mod">
          <ac:chgData name="Katerine Schifino" userId="37bb67de-9fcf-4611-888c-7e5b58184a2a" providerId="ADAL" clId="{D7BBC3CB-68AE-4307-9B5F-60512B429BF0}" dt="2022-03-23T23:31:38.459" v="8899" actId="1076"/>
          <ac:picMkLst>
            <pc:docMk/>
            <pc:sldMk cId="3424299804" sldId="2146846135"/>
            <ac:picMk id="31" creationId="{8217D5D6-2F7E-454D-BCBA-E809FA460033}"/>
          </ac:picMkLst>
        </pc:picChg>
        <pc:cxnChg chg="add mod">
          <ac:chgData name="Katerine Schifino" userId="37bb67de-9fcf-4611-888c-7e5b58184a2a" providerId="ADAL" clId="{D7BBC3CB-68AE-4307-9B5F-60512B429BF0}" dt="2022-03-23T23:32:16.853" v="8902" actId="208"/>
          <ac:cxnSpMkLst>
            <pc:docMk/>
            <pc:sldMk cId="3424299804" sldId="2146846135"/>
            <ac:cxnSpMk id="33" creationId="{8CDC28B1-3ACD-412A-9181-EE82D994C5FB}"/>
          </ac:cxnSpMkLst>
        </pc:cxnChg>
        <pc:cxnChg chg="add mod">
          <ac:chgData name="Katerine Schifino" userId="37bb67de-9fcf-4611-888c-7e5b58184a2a" providerId="ADAL" clId="{D7BBC3CB-68AE-4307-9B5F-60512B429BF0}" dt="2022-03-23T23:32:23.231" v="8904" actId="1076"/>
          <ac:cxnSpMkLst>
            <pc:docMk/>
            <pc:sldMk cId="3424299804" sldId="2146846135"/>
            <ac:cxnSpMk id="69" creationId="{C78D7933-7CBF-4273-A322-845C29D2A6D3}"/>
          </ac:cxnSpMkLst>
        </pc:cxnChg>
        <pc:cxnChg chg="add mod">
          <ac:chgData name="Katerine Schifino" userId="37bb67de-9fcf-4611-888c-7e5b58184a2a" providerId="ADAL" clId="{D7BBC3CB-68AE-4307-9B5F-60512B429BF0}" dt="2022-03-23T23:32:28.637" v="8906" actId="1076"/>
          <ac:cxnSpMkLst>
            <pc:docMk/>
            <pc:sldMk cId="3424299804" sldId="2146846135"/>
            <ac:cxnSpMk id="70" creationId="{8C353DFB-E651-4E60-B98C-190D9832BC88}"/>
          </ac:cxnSpMkLst>
        </pc:cxnChg>
        <pc:cxnChg chg="add mod">
          <ac:chgData name="Katerine Schifino" userId="37bb67de-9fcf-4611-888c-7e5b58184a2a" providerId="ADAL" clId="{D7BBC3CB-68AE-4307-9B5F-60512B429BF0}" dt="2022-03-23T23:32:32.708" v="8908" actId="1076"/>
          <ac:cxnSpMkLst>
            <pc:docMk/>
            <pc:sldMk cId="3424299804" sldId="2146846135"/>
            <ac:cxnSpMk id="71" creationId="{882D773D-340D-412D-AA74-4877CA5C1764}"/>
          </ac:cxnSpMkLst>
        </pc:cxnChg>
        <pc:cxnChg chg="add mod">
          <ac:chgData name="Katerine Schifino" userId="37bb67de-9fcf-4611-888c-7e5b58184a2a" providerId="ADAL" clId="{D7BBC3CB-68AE-4307-9B5F-60512B429BF0}" dt="2022-03-23T23:32:36.786" v="8910" actId="1076"/>
          <ac:cxnSpMkLst>
            <pc:docMk/>
            <pc:sldMk cId="3424299804" sldId="2146846135"/>
            <ac:cxnSpMk id="72" creationId="{520948AB-A8D3-4981-9806-5E6F483F06BE}"/>
          </ac:cxnSpMkLst>
        </pc:cxnChg>
      </pc:sldChg>
      <pc:sldChg chg="delSp modSp add del mod">
        <pc:chgData name="Katerine Schifino" userId="37bb67de-9fcf-4611-888c-7e5b58184a2a" providerId="ADAL" clId="{D7BBC3CB-68AE-4307-9B5F-60512B429BF0}" dt="2022-03-23T22:51:22.615" v="8340" actId="47"/>
        <pc:sldMkLst>
          <pc:docMk/>
          <pc:sldMk cId="3283013631" sldId="2146846136"/>
        </pc:sldMkLst>
        <pc:spChg chg="del">
          <ac:chgData name="Katerine Schifino" userId="37bb67de-9fcf-4611-888c-7e5b58184a2a" providerId="ADAL" clId="{D7BBC3CB-68AE-4307-9B5F-60512B429BF0}" dt="2022-03-23T21:16:31.383" v="5082" actId="478"/>
          <ac:spMkLst>
            <pc:docMk/>
            <pc:sldMk cId="3283013631" sldId="2146846136"/>
            <ac:spMk id="3" creationId="{F37952A8-26A7-4620-BB6E-749B2F7FE437}"/>
          </ac:spMkLst>
        </pc:spChg>
        <pc:spChg chg="mod">
          <ac:chgData name="Katerine Schifino" userId="37bb67de-9fcf-4611-888c-7e5b58184a2a" providerId="ADAL" clId="{D7BBC3CB-68AE-4307-9B5F-60512B429BF0}" dt="2022-03-23T21:16:27.450" v="5081" actId="20577"/>
          <ac:spMkLst>
            <pc:docMk/>
            <pc:sldMk cId="3283013631" sldId="2146846136"/>
            <ac:spMk id="4" creationId="{CD3B507D-B343-498F-97D5-78CBF4589AAB}"/>
          </ac:spMkLst>
        </pc:spChg>
        <pc:spChg chg="del">
          <ac:chgData name="Katerine Schifino" userId="37bb67de-9fcf-4611-888c-7e5b58184a2a" providerId="ADAL" clId="{D7BBC3CB-68AE-4307-9B5F-60512B429BF0}" dt="2022-03-23T21:16:31.383" v="5082" actId="478"/>
          <ac:spMkLst>
            <pc:docMk/>
            <pc:sldMk cId="3283013631" sldId="2146846136"/>
            <ac:spMk id="55" creationId="{693BE602-C9B4-412A-8447-FDCBB931768E}"/>
          </ac:spMkLst>
        </pc:spChg>
        <pc:grpChg chg="del">
          <ac:chgData name="Katerine Schifino" userId="37bb67de-9fcf-4611-888c-7e5b58184a2a" providerId="ADAL" clId="{D7BBC3CB-68AE-4307-9B5F-60512B429BF0}" dt="2022-03-23T21:16:31.383" v="5082" actId="478"/>
          <ac:grpSpMkLst>
            <pc:docMk/>
            <pc:sldMk cId="3283013631" sldId="2146846136"/>
            <ac:grpSpMk id="6" creationId="{261DB4A7-4C07-46D7-916D-B61EDC194383}"/>
          </ac:grpSpMkLst>
        </pc:grpChg>
        <pc:grpChg chg="del">
          <ac:chgData name="Katerine Schifino" userId="37bb67de-9fcf-4611-888c-7e5b58184a2a" providerId="ADAL" clId="{D7BBC3CB-68AE-4307-9B5F-60512B429BF0}" dt="2022-03-23T21:16:31.383" v="5082" actId="478"/>
          <ac:grpSpMkLst>
            <pc:docMk/>
            <pc:sldMk cId="3283013631" sldId="2146846136"/>
            <ac:grpSpMk id="54" creationId="{C8CACEA6-0212-4EFD-B253-05AA389E4D94}"/>
          </ac:grpSpMkLst>
        </pc:grpChg>
      </pc:sldChg>
      <pc:sldChg chg="addSp delSp modSp add mod modClrScheme chgLayout">
        <pc:chgData name="Katerine Schifino" userId="37bb67de-9fcf-4611-888c-7e5b58184a2a" providerId="ADAL" clId="{D7BBC3CB-68AE-4307-9B5F-60512B429BF0}" dt="2022-03-23T23:06:43.885" v="8526" actId="20577"/>
        <pc:sldMkLst>
          <pc:docMk/>
          <pc:sldMk cId="3576568090" sldId="2146846137"/>
        </pc:sldMkLst>
        <pc:spChg chg="del">
          <ac:chgData name="Katerine Schifino" userId="37bb67de-9fcf-4611-888c-7e5b58184a2a" providerId="ADAL" clId="{D7BBC3CB-68AE-4307-9B5F-60512B429BF0}" dt="2022-03-23T21:22:22.223" v="5179" actId="478"/>
          <ac:spMkLst>
            <pc:docMk/>
            <pc:sldMk cId="3576568090" sldId="2146846137"/>
            <ac:spMk id="4" creationId="{CD3B507D-B343-498F-97D5-78CBF4589AAB}"/>
          </ac:spMkLst>
        </pc:spChg>
        <pc:spChg chg="add mod">
          <ac:chgData name="Katerine Schifino" userId="37bb67de-9fcf-4611-888c-7e5b58184a2a" providerId="ADAL" clId="{D7BBC3CB-68AE-4307-9B5F-60512B429BF0}" dt="2022-03-23T21:29:04.791" v="5516" actId="20577"/>
          <ac:spMkLst>
            <pc:docMk/>
            <pc:sldMk cId="3576568090" sldId="2146846137"/>
            <ac:spMk id="6" creationId="{C3E24BFF-A0DB-4ECE-96D3-5EAB937B7323}"/>
          </ac:spMkLst>
        </pc:spChg>
        <pc:spChg chg="add mod">
          <ac:chgData name="Katerine Schifino" userId="37bb67de-9fcf-4611-888c-7e5b58184a2a" providerId="ADAL" clId="{D7BBC3CB-68AE-4307-9B5F-60512B429BF0}" dt="2022-03-23T21:29:44.871" v="5601" actId="1036"/>
          <ac:spMkLst>
            <pc:docMk/>
            <pc:sldMk cId="3576568090" sldId="2146846137"/>
            <ac:spMk id="7" creationId="{9B3DE356-A217-4930-B091-FDA68F880392}"/>
          </ac:spMkLst>
        </pc:spChg>
        <pc:spChg chg="add mod">
          <ac:chgData name="Katerine Schifino" userId="37bb67de-9fcf-4611-888c-7e5b58184a2a" providerId="ADAL" clId="{D7BBC3CB-68AE-4307-9B5F-60512B429BF0}" dt="2022-03-23T23:06:43.885" v="8526" actId="20577"/>
          <ac:spMkLst>
            <pc:docMk/>
            <pc:sldMk cId="3576568090" sldId="2146846137"/>
            <ac:spMk id="8" creationId="{F3692B0D-82AC-41A6-A5BD-1A4B9AC9B985}"/>
          </ac:spMkLst>
        </pc:spChg>
        <pc:picChg chg="del">
          <ac:chgData name="Katerine Schifino" userId="37bb67de-9fcf-4611-888c-7e5b58184a2a" providerId="ADAL" clId="{D7BBC3CB-68AE-4307-9B5F-60512B429BF0}" dt="2022-03-23T21:19:53.511" v="5144" actId="21"/>
          <ac:picMkLst>
            <pc:docMk/>
            <pc:sldMk cId="3576568090" sldId="2146846137"/>
            <ac:picMk id="4098" creationId="{2878EE32-FA46-4168-9266-2B4C62DFC071}"/>
          </ac:picMkLst>
        </pc:picChg>
        <pc:picChg chg="add del mod">
          <ac:chgData name="Katerine Schifino" userId="37bb67de-9fcf-4611-888c-7e5b58184a2a" providerId="ADAL" clId="{D7BBC3CB-68AE-4307-9B5F-60512B429BF0}" dt="2022-03-23T21:19:53.511" v="5144" actId="21"/>
          <ac:picMkLst>
            <pc:docMk/>
            <pc:sldMk cId="3576568090" sldId="2146846137"/>
            <ac:picMk id="5122" creationId="{606D00E9-699B-42D2-90C2-1A3B9FC5B116}"/>
          </ac:picMkLst>
        </pc:picChg>
        <pc:picChg chg="add del mod">
          <ac:chgData name="Katerine Schifino" userId="37bb67de-9fcf-4611-888c-7e5b58184a2a" providerId="ADAL" clId="{D7BBC3CB-68AE-4307-9B5F-60512B429BF0}" dt="2022-03-23T21:19:53.511" v="5144" actId="21"/>
          <ac:picMkLst>
            <pc:docMk/>
            <pc:sldMk cId="3576568090" sldId="2146846137"/>
            <ac:picMk id="5124" creationId="{01B7AB5B-29EE-4822-B37F-65D55BF07668}"/>
          </ac:picMkLst>
        </pc:picChg>
        <pc:picChg chg="add mod">
          <ac:chgData name="Katerine Schifino" userId="37bb67de-9fcf-4611-888c-7e5b58184a2a" providerId="ADAL" clId="{D7BBC3CB-68AE-4307-9B5F-60512B429BF0}" dt="2022-03-23T21:29:44.871" v="5601" actId="1036"/>
          <ac:picMkLst>
            <pc:docMk/>
            <pc:sldMk cId="3576568090" sldId="2146846137"/>
            <ac:picMk id="5126" creationId="{895C0EEB-02B6-450D-A21B-41CA55BD36FB}"/>
          </ac:picMkLst>
        </pc:picChg>
      </pc:sldChg>
      <pc:sldChg chg="add del">
        <pc:chgData name="Katerine Schifino" userId="37bb67de-9fcf-4611-888c-7e5b58184a2a" providerId="ADAL" clId="{D7BBC3CB-68AE-4307-9B5F-60512B429BF0}" dt="2022-03-23T21:47:31.399" v="5617" actId="47"/>
        <pc:sldMkLst>
          <pc:docMk/>
          <pc:sldMk cId="303325371" sldId="2146846138"/>
        </pc:sldMkLst>
      </pc:sldChg>
      <pc:sldChg chg="addSp delSp modSp add mod">
        <pc:chgData name="Katerine Schifino" userId="37bb67de-9fcf-4611-888c-7e5b58184a2a" providerId="ADAL" clId="{D7BBC3CB-68AE-4307-9B5F-60512B429BF0}" dt="2022-03-24T19:07:46.450" v="9649" actId="20577"/>
        <pc:sldMkLst>
          <pc:docMk/>
          <pc:sldMk cId="1726142947" sldId="2146846138"/>
        </pc:sldMkLst>
        <pc:spChg chg="mod">
          <ac:chgData name="Katerine Schifino" userId="37bb67de-9fcf-4611-888c-7e5b58184a2a" providerId="ADAL" clId="{D7BBC3CB-68AE-4307-9B5F-60512B429BF0}" dt="2022-03-24T19:07:42.279" v="9647" actId="20577"/>
          <ac:spMkLst>
            <pc:docMk/>
            <pc:sldMk cId="1726142947" sldId="2146846138"/>
            <ac:spMk id="99" creationId="{AFB16858-CE5E-47D7-9439-8DC471FD0DEF}"/>
          </ac:spMkLst>
        </pc:spChg>
        <pc:spChg chg="mod">
          <ac:chgData name="Katerine Schifino" userId="37bb67de-9fcf-4611-888c-7e5b58184a2a" providerId="ADAL" clId="{D7BBC3CB-68AE-4307-9B5F-60512B429BF0}" dt="2022-03-24T19:07:46.450" v="9649" actId="20577"/>
          <ac:spMkLst>
            <pc:docMk/>
            <pc:sldMk cId="1726142947" sldId="2146846138"/>
            <ac:spMk id="106" creationId="{C87E10BD-FF0A-48F4-A249-9FB8E0525706}"/>
          </ac:spMkLst>
        </pc:spChg>
        <pc:grpChg chg="del">
          <ac:chgData name="Katerine Schifino" userId="37bb67de-9fcf-4611-888c-7e5b58184a2a" providerId="ADAL" clId="{D7BBC3CB-68AE-4307-9B5F-60512B429BF0}" dt="2022-03-23T23:08:08.150" v="8530" actId="478"/>
          <ac:grpSpMkLst>
            <pc:docMk/>
            <pc:sldMk cId="1726142947" sldId="2146846138"/>
            <ac:grpSpMk id="108" creationId="{950F7CE4-4B8F-43C4-BFCC-46975D30A2E8}"/>
          </ac:grpSpMkLst>
        </pc:grpChg>
        <pc:picChg chg="add mod modCrop">
          <ac:chgData name="Katerine Schifino" userId="37bb67de-9fcf-4611-888c-7e5b58184a2a" providerId="ADAL" clId="{D7BBC3CB-68AE-4307-9B5F-60512B429BF0}" dt="2022-03-23T23:19:44.202" v="8543" actId="18131"/>
          <ac:picMkLst>
            <pc:docMk/>
            <pc:sldMk cId="1726142947" sldId="2146846138"/>
            <ac:picMk id="3" creationId="{98CC4ED0-9F6E-4782-AA94-5F30B7D7E30D}"/>
          </ac:picMkLst>
        </pc:picChg>
        <pc:picChg chg="del">
          <ac:chgData name="Katerine Schifino" userId="37bb67de-9fcf-4611-888c-7e5b58184a2a" providerId="ADAL" clId="{D7BBC3CB-68AE-4307-9B5F-60512B429BF0}" dt="2022-03-23T23:08:08.150" v="8530" actId="478"/>
          <ac:picMkLst>
            <pc:docMk/>
            <pc:sldMk cId="1726142947" sldId="2146846138"/>
            <ac:picMk id="110" creationId="{A8365DF3-B895-42F5-ABBC-7B7F12533A3D}"/>
          </ac:picMkLst>
        </pc:picChg>
      </pc:sldChg>
      <pc:sldChg chg="modSp add mod">
        <pc:chgData name="Katerine Schifino" userId="37bb67de-9fcf-4611-888c-7e5b58184a2a" providerId="ADAL" clId="{D7BBC3CB-68AE-4307-9B5F-60512B429BF0}" dt="2022-03-24T14:25:14.354" v="9625" actId="572"/>
        <pc:sldMkLst>
          <pc:docMk/>
          <pc:sldMk cId="829897845" sldId="2146846139"/>
        </pc:sldMkLst>
        <pc:graphicFrameChg chg="mod modGraphic">
          <ac:chgData name="Katerine Schifino" userId="37bb67de-9fcf-4611-888c-7e5b58184a2a" providerId="ADAL" clId="{D7BBC3CB-68AE-4307-9B5F-60512B429BF0}" dt="2022-03-24T14:25:14.354" v="9625" actId="572"/>
          <ac:graphicFrameMkLst>
            <pc:docMk/>
            <pc:sldMk cId="829897845" sldId="2146846139"/>
            <ac:graphicFrameMk id="2" creationId="{DABEA71B-03AC-48AD-8E3A-F5B4F36922D0}"/>
          </ac:graphicFrameMkLst>
        </pc:graphicFrameChg>
      </pc:sldChg>
      <pc:sldChg chg="add del">
        <pc:chgData name="Katerine Schifino" userId="37bb67de-9fcf-4611-888c-7e5b58184a2a" providerId="ADAL" clId="{D7BBC3CB-68AE-4307-9B5F-60512B429BF0}" dt="2022-03-23T23:25:11.130" v="8552" actId="2890"/>
        <pc:sldMkLst>
          <pc:docMk/>
          <pc:sldMk cId="2316621948" sldId="2146846139"/>
        </pc:sldMkLst>
      </pc:sldChg>
      <pc:sldChg chg="modSp add mod">
        <pc:chgData name="Katerine Schifino" userId="37bb67de-9fcf-4611-888c-7e5b58184a2a" providerId="ADAL" clId="{D7BBC3CB-68AE-4307-9B5F-60512B429BF0}" dt="2022-03-24T14:25:50.331" v="9631"/>
        <pc:sldMkLst>
          <pc:docMk/>
          <pc:sldMk cId="3798208685" sldId="2146846140"/>
        </pc:sldMkLst>
        <pc:graphicFrameChg chg="mod modGraphic">
          <ac:chgData name="Katerine Schifino" userId="37bb67de-9fcf-4611-888c-7e5b58184a2a" providerId="ADAL" clId="{D7BBC3CB-68AE-4307-9B5F-60512B429BF0}" dt="2022-03-24T14:25:50.331" v="9631"/>
          <ac:graphicFrameMkLst>
            <pc:docMk/>
            <pc:sldMk cId="3798208685" sldId="2146846140"/>
            <ac:graphicFrameMk id="2" creationId="{DABEA71B-03AC-48AD-8E3A-F5B4F36922D0}"/>
          </ac:graphicFrameMkLst>
        </pc:graphicFrameChg>
      </pc:sldChg>
      <pc:sldChg chg="modSp add mod">
        <pc:chgData name="Katerine Schifino" userId="37bb67de-9fcf-4611-888c-7e5b58184a2a" providerId="ADAL" clId="{D7BBC3CB-68AE-4307-9B5F-60512B429BF0}" dt="2022-03-24T14:26:16.235" v="9636"/>
        <pc:sldMkLst>
          <pc:docMk/>
          <pc:sldMk cId="1563887758" sldId="2146846141"/>
        </pc:sldMkLst>
        <pc:graphicFrameChg chg="mod modGraphic">
          <ac:chgData name="Katerine Schifino" userId="37bb67de-9fcf-4611-888c-7e5b58184a2a" providerId="ADAL" clId="{D7BBC3CB-68AE-4307-9B5F-60512B429BF0}" dt="2022-03-24T14:26:16.235" v="9636"/>
          <ac:graphicFrameMkLst>
            <pc:docMk/>
            <pc:sldMk cId="1563887758" sldId="2146846141"/>
            <ac:graphicFrameMk id="2" creationId="{DABEA71B-03AC-48AD-8E3A-F5B4F36922D0}"/>
          </ac:graphicFrameMkLst>
        </pc:graphicFrameChg>
      </pc:sldChg>
      <pc:sldChg chg="modSp add mod">
        <pc:chgData name="Katerine Schifino" userId="37bb67de-9fcf-4611-888c-7e5b58184a2a" providerId="ADAL" clId="{D7BBC3CB-68AE-4307-9B5F-60512B429BF0}" dt="2022-03-24T14:26:43.286" v="9641" actId="207"/>
        <pc:sldMkLst>
          <pc:docMk/>
          <pc:sldMk cId="2686842604" sldId="2146846142"/>
        </pc:sldMkLst>
        <pc:graphicFrameChg chg="mod modGraphic">
          <ac:chgData name="Katerine Schifino" userId="37bb67de-9fcf-4611-888c-7e5b58184a2a" providerId="ADAL" clId="{D7BBC3CB-68AE-4307-9B5F-60512B429BF0}" dt="2022-03-24T14:26:43.286" v="9641" actId="207"/>
          <ac:graphicFrameMkLst>
            <pc:docMk/>
            <pc:sldMk cId="2686842604" sldId="2146846142"/>
            <ac:graphicFrameMk id="2" creationId="{DABEA71B-03AC-48AD-8E3A-F5B4F36922D0}"/>
          </ac:graphicFrameMkLst>
        </pc:graphicFrameChg>
      </pc:sldChg>
      <pc:sldMasterChg chg="modSldLayout">
        <pc:chgData name="Katerine Schifino" userId="37bb67de-9fcf-4611-888c-7e5b58184a2a" providerId="ADAL" clId="{D7BBC3CB-68AE-4307-9B5F-60512B429BF0}" dt="2022-03-23T21:26:10.491" v="5456"/>
        <pc:sldMasterMkLst>
          <pc:docMk/>
          <pc:sldMasterMk cId="2023246918" sldId="2147483660"/>
        </pc:sldMasterMkLst>
        <pc:sldLayoutChg chg="addSp delSp modSp">
          <pc:chgData name="Katerine Schifino" userId="37bb67de-9fcf-4611-888c-7e5b58184a2a" providerId="ADAL" clId="{D7BBC3CB-68AE-4307-9B5F-60512B429BF0}" dt="2022-03-23T18:59:14.731" v="2605" actId="478"/>
          <pc:sldLayoutMkLst>
            <pc:docMk/>
            <pc:sldMasterMk cId="2023246918" sldId="2147483660"/>
            <pc:sldLayoutMk cId="2759410488" sldId="2147483987"/>
          </pc:sldLayoutMkLst>
          <pc:picChg chg="add del mod">
            <ac:chgData name="Katerine Schifino" userId="37bb67de-9fcf-4611-888c-7e5b58184a2a" providerId="ADAL" clId="{D7BBC3CB-68AE-4307-9B5F-60512B429BF0}" dt="2022-03-23T18:59:14.731" v="2605" actId="478"/>
            <ac:picMkLst>
              <pc:docMk/>
              <pc:sldMasterMk cId="2023246918" sldId="2147483660"/>
              <pc:sldLayoutMk cId="2759410488" sldId="2147483987"/>
              <ac:picMk id="3" creationId="{A65D2D27-6251-427D-8CD6-3877A0D07EAB}"/>
            </ac:picMkLst>
          </pc:picChg>
        </pc:sldLayoutChg>
        <pc:sldLayoutChg chg="addSp delSp modSp">
          <pc:chgData name="Katerine Schifino" userId="37bb67de-9fcf-4611-888c-7e5b58184a2a" providerId="ADAL" clId="{D7BBC3CB-68AE-4307-9B5F-60512B429BF0}" dt="2022-03-23T21:20:04.055" v="5146" actId="478"/>
          <pc:sldLayoutMkLst>
            <pc:docMk/>
            <pc:sldMasterMk cId="2023246918" sldId="2147483660"/>
            <pc:sldLayoutMk cId="3617988650" sldId="2147484018"/>
          </pc:sldLayoutMkLst>
          <pc:picChg chg="add del mod">
            <ac:chgData name="Katerine Schifino" userId="37bb67de-9fcf-4611-888c-7e5b58184a2a" providerId="ADAL" clId="{D7BBC3CB-68AE-4307-9B5F-60512B429BF0}" dt="2022-03-23T21:20:04.055" v="5146" actId="478"/>
            <ac:picMkLst>
              <pc:docMk/>
              <pc:sldMasterMk cId="2023246918" sldId="2147483660"/>
              <pc:sldLayoutMk cId="3617988650" sldId="2147484018"/>
              <ac:picMk id="6" creationId="{7F5FEE10-7D97-41B1-84E9-CC828617C8A1}"/>
            </ac:picMkLst>
          </pc:picChg>
          <pc:picChg chg="add del mod">
            <ac:chgData name="Katerine Schifino" userId="37bb67de-9fcf-4611-888c-7e5b58184a2a" providerId="ADAL" clId="{D7BBC3CB-68AE-4307-9B5F-60512B429BF0}" dt="2022-03-23T21:20:04.055" v="5146" actId="478"/>
            <ac:picMkLst>
              <pc:docMk/>
              <pc:sldMasterMk cId="2023246918" sldId="2147483660"/>
              <pc:sldLayoutMk cId="3617988650" sldId="2147484018"/>
              <ac:picMk id="7" creationId="{607E63D6-0095-4DA0-926C-58C8D23B5CDF}"/>
            </ac:picMkLst>
          </pc:picChg>
          <pc:picChg chg="add del mod">
            <ac:chgData name="Katerine Schifino" userId="37bb67de-9fcf-4611-888c-7e5b58184a2a" providerId="ADAL" clId="{D7BBC3CB-68AE-4307-9B5F-60512B429BF0}" dt="2022-03-23T21:20:04.055" v="5146" actId="478"/>
            <ac:picMkLst>
              <pc:docMk/>
              <pc:sldMasterMk cId="2023246918" sldId="2147483660"/>
              <pc:sldLayoutMk cId="3617988650" sldId="2147484018"/>
              <ac:picMk id="8" creationId="{B4EA689D-80F7-4CD1-B2F1-CAEA0F17213D}"/>
            </ac:picMkLst>
          </pc:picChg>
        </pc:sldLayoutChg>
        <pc:sldLayoutChg chg="addSp modSp">
          <pc:chgData name="Katerine Schifino" userId="37bb67de-9fcf-4611-888c-7e5b58184a2a" providerId="ADAL" clId="{D7BBC3CB-68AE-4307-9B5F-60512B429BF0}" dt="2022-03-23T19:02:11.023" v="2645"/>
          <pc:sldLayoutMkLst>
            <pc:docMk/>
            <pc:sldMasterMk cId="2023246918" sldId="2147483660"/>
            <pc:sldLayoutMk cId="2957670480" sldId="2147484020"/>
          </pc:sldLayoutMkLst>
          <pc:grpChg chg="add mod">
            <ac:chgData name="Katerine Schifino" userId="37bb67de-9fcf-4611-888c-7e5b58184a2a" providerId="ADAL" clId="{D7BBC3CB-68AE-4307-9B5F-60512B429BF0}" dt="2022-03-23T19:01:42.582" v="2640"/>
            <ac:grpSpMkLst>
              <pc:docMk/>
              <pc:sldMasterMk cId="2023246918" sldId="2147483660"/>
              <pc:sldLayoutMk cId="2957670480" sldId="2147484020"/>
              <ac:grpSpMk id="2" creationId="{164DBBD2-31FA-49D4-A73C-F5618417CD78}"/>
            </ac:grpSpMkLst>
          </pc:grpChg>
          <pc:picChg chg="mod">
            <ac:chgData name="Katerine Schifino" userId="37bb67de-9fcf-4611-888c-7e5b58184a2a" providerId="ADAL" clId="{D7BBC3CB-68AE-4307-9B5F-60512B429BF0}" dt="2022-03-23T19:02:04.802" v="2642"/>
            <ac:picMkLst>
              <pc:docMk/>
              <pc:sldMasterMk cId="2023246918" sldId="2147483660"/>
              <pc:sldLayoutMk cId="2957670480" sldId="2147484020"/>
              <ac:picMk id="3" creationId="{A65D2D27-6251-427D-8CD6-3877A0D07EAB}"/>
            </ac:picMkLst>
          </pc:picChg>
          <pc:picChg chg="add mod">
            <ac:chgData name="Katerine Schifino" userId="37bb67de-9fcf-4611-888c-7e5b58184a2a" providerId="ADAL" clId="{D7BBC3CB-68AE-4307-9B5F-60512B429BF0}" dt="2022-03-23T19:02:02.099" v="2641"/>
            <ac:picMkLst>
              <pc:docMk/>
              <pc:sldMasterMk cId="2023246918" sldId="2147483660"/>
              <pc:sldLayoutMk cId="2957670480" sldId="2147484020"/>
              <ac:picMk id="5" creationId="{2A3BC59E-D672-4A55-BAD3-02C118600F0E}"/>
            </ac:picMkLst>
          </pc:picChg>
          <pc:picChg chg="add mod">
            <ac:chgData name="Katerine Schifino" userId="37bb67de-9fcf-4611-888c-7e5b58184a2a" providerId="ADAL" clId="{D7BBC3CB-68AE-4307-9B5F-60512B429BF0}" dt="2022-03-23T19:02:07.238" v="2643"/>
            <ac:picMkLst>
              <pc:docMk/>
              <pc:sldMasterMk cId="2023246918" sldId="2147483660"/>
              <pc:sldLayoutMk cId="2957670480" sldId="2147484020"/>
              <ac:picMk id="6" creationId="{7A298334-0A8D-4F7D-BB05-50FDF31C692B}"/>
            </ac:picMkLst>
          </pc:picChg>
          <pc:picChg chg="add mod">
            <ac:chgData name="Katerine Schifino" userId="37bb67de-9fcf-4611-888c-7e5b58184a2a" providerId="ADAL" clId="{D7BBC3CB-68AE-4307-9B5F-60512B429BF0}" dt="2022-03-23T19:02:11.023" v="2645"/>
            <ac:picMkLst>
              <pc:docMk/>
              <pc:sldMasterMk cId="2023246918" sldId="2147483660"/>
              <pc:sldLayoutMk cId="2957670480" sldId="2147484020"/>
              <ac:picMk id="7" creationId="{1C22F954-1D87-436F-A5A9-D0541938DB3A}"/>
            </ac:picMkLst>
          </pc:picChg>
          <pc:picChg chg="add mod">
            <ac:chgData name="Katerine Schifino" userId="37bb67de-9fcf-4611-888c-7e5b58184a2a" providerId="ADAL" clId="{D7BBC3CB-68AE-4307-9B5F-60512B429BF0}" dt="2022-03-23T19:02:09.051" v="2644"/>
            <ac:picMkLst>
              <pc:docMk/>
              <pc:sldMasterMk cId="2023246918" sldId="2147483660"/>
              <pc:sldLayoutMk cId="2957670480" sldId="2147484020"/>
              <ac:picMk id="8" creationId="{BF425A56-2CCE-4909-8AB3-844871F624B9}"/>
            </ac:picMkLst>
          </pc:picChg>
        </pc:sldLayoutChg>
        <pc:sldLayoutChg chg="addSp delSp modSp mod">
          <pc:chgData name="Katerine Schifino" userId="37bb67de-9fcf-4611-888c-7e5b58184a2a" providerId="ADAL" clId="{D7BBC3CB-68AE-4307-9B5F-60512B429BF0}" dt="2022-03-23T21:26:10.491" v="5456"/>
          <pc:sldLayoutMkLst>
            <pc:docMk/>
            <pc:sldMasterMk cId="2023246918" sldId="2147483660"/>
            <pc:sldLayoutMk cId="3601398483" sldId="2147484021"/>
          </pc:sldLayoutMkLst>
          <pc:picChg chg="del mod">
            <ac:chgData name="Katerine Schifino" userId="37bb67de-9fcf-4611-888c-7e5b58184a2a" providerId="ADAL" clId="{D7BBC3CB-68AE-4307-9B5F-60512B429BF0}" dt="2022-03-23T21:20:27.271" v="5150" actId="478"/>
            <ac:picMkLst>
              <pc:docMk/>
              <pc:sldMasterMk cId="2023246918" sldId="2147483660"/>
              <pc:sldLayoutMk cId="3601398483" sldId="2147484021"/>
              <ac:picMk id="6" creationId="{7F5FEE10-7D97-41B1-84E9-CC828617C8A1}"/>
            </ac:picMkLst>
          </pc:picChg>
          <pc:picChg chg="del mod">
            <ac:chgData name="Katerine Schifino" userId="37bb67de-9fcf-4611-888c-7e5b58184a2a" providerId="ADAL" clId="{D7BBC3CB-68AE-4307-9B5F-60512B429BF0}" dt="2022-03-23T21:20:36.510" v="5153" actId="478"/>
            <ac:picMkLst>
              <pc:docMk/>
              <pc:sldMasterMk cId="2023246918" sldId="2147483660"/>
              <pc:sldLayoutMk cId="3601398483" sldId="2147484021"/>
              <ac:picMk id="7" creationId="{607E63D6-0095-4DA0-926C-58C8D23B5CDF}"/>
            </ac:picMkLst>
          </pc:picChg>
          <pc:picChg chg="mod">
            <ac:chgData name="Katerine Schifino" userId="37bb67de-9fcf-4611-888c-7e5b58184a2a" providerId="ADAL" clId="{D7BBC3CB-68AE-4307-9B5F-60512B429BF0}" dt="2022-03-23T21:26:04.637" v="5452"/>
            <ac:picMkLst>
              <pc:docMk/>
              <pc:sldMasterMk cId="2023246918" sldId="2147483660"/>
              <pc:sldLayoutMk cId="3601398483" sldId="2147484021"/>
              <ac:picMk id="8" creationId="{B4EA689D-80F7-4CD1-B2F1-CAEA0F17213D}"/>
            </ac:picMkLst>
          </pc:picChg>
          <pc:picChg chg="add mod">
            <ac:chgData name="Katerine Schifino" userId="37bb67de-9fcf-4611-888c-7e5b58184a2a" providerId="ADAL" clId="{D7BBC3CB-68AE-4307-9B5F-60512B429BF0}" dt="2022-03-23T21:26:01.998" v="5451"/>
            <ac:picMkLst>
              <pc:docMk/>
              <pc:sldMasterMk cId="2023246918" sldId="2147483660"/>
              <pc:sldLayoutMk cId="3601398483" sldId="2147484021"/>
              <ac:picMk id="9" creationId="{C76B4DBF-9FB2-49CD-9916-3E041CA5728D}"/>
            </ac:picMkLst>
          </pc:picChg>
          <pc:picChg chg="add mod">
            <ac:chgData name="Katerine Schifino" userId="37bb67de-9fcf-4611-888c-7e5b58184a2a" providerId="ADAL" clId="{D7BBC3CB-68AE-4307-9B5F-60512B429BF0}" dt="2022-03-23T21:26:05.951" v="5453"/>
            <ac:picMkLst>
              <pc:docMk/>
              <pc:sldMasterMk cId="2023246918" sldId="2147483660"/>
              <pc:sldLayoutMk cId="3601398483" sldId="2147484021"/>
              <ac:picMk id="10" creationId="{8373B186-8D07-4B83-86BE-C88123E30371}"/>
            </ac:picMkLst>
          </pc:picChg>
          <pc:picChg chg="add mod">
            <ac:chgData name="Katerine Schifino" userId="37bb67de-9fcf-4611-888c-7e5b58184a2a" providerId="ADAL" clId="{D7BBC3CB-68AE-4307-9B5F-60512B429BF0}" dt="2022-03-23T21:26:10.491" v="5456"/>
            <ac:picMkLst>
              <pc:docMk/>
              <pc:sldMasterMk cId="2023246918" sldId="2147483660"/>
              <pc:sldLayoutMk cId="3601398483" sldId="2147484021"/>
              <ac:picMk id="11" creationId="{8D6260DF-65BA-4B8E-93B3-CC06118EA2D9}"/>
            </ac:picMkLst>
          </pc:picChg>
          <pc:picChg chg="add mod">
            <ac:chgData name="Katerine Schifino" userId="37bb67de-9fcf-4611-888c-7e5b58184a2a" providerId="ADAL" clId="{D7BBC3CB-68AE-4307-9B5F-60512B429BF0}" dt="2022-03-23T21:26:07.725" v="5454"/>
            <ac:picMkLst>
              <pc:docMk/>
              <pc:sldMasterMk cId="2023246918" sldId="2147483660"/>
              <pc:sldLayoutMk cId="3601398483" sldId="2147484021"/>
              <ac:picMk id="12" creationId="{5B9A083B-30D6-405F-8D76-C6762C4D1BDA}"/>
            </ac:picMkLst>
          </pc:picChg>
          <pc:picChg chg="add mod">
            <ac:chgData name="Katerine Schifino" userId="37bb67de-9fcf-4611-888c-7e5b58184a2a" providerId="ADAL" clId="{D7BBC3CB-68AE-4307-9B5F-60512B429BF0}" dt="2022-03-23T21:26:09.160" v="5455"/>
            <ac:picMkLst>
              <pc:docMk/>
              <pc:sldMasterMk cId="2023246918" sldId="2147483660"/>
              <pc:sldLayoutMk cId="3601398483" sldId="2147484021"/>
              <ac:picMk id="13" creationId="{0D8FEBFE-B555-4112-981D-BB471C6AA659}"/>
            </ac:picMkLst>
          </pc:picChg>
          <pc:cxnChg chg="del">
            <ac:chgData name="Katerine Schifino" userId="37bb67de-9fcf-4611-888c-7e5b58184a2a" providerId="ADAL" clId="{D7BBC3CB-68AE-4307-9B5F-60512B429BF0}" dt="2022-03-23T21:20:07.501" v="5147" actId="478"/>
            <ac:cxnSpMkLst>
              <pc:docMk/>
              <pc:sldMasterMk cId="2023246918" sldId="2147483660"/>
              <pc:sldLayoutMk cId="3601398483" sldId="2147484021"/>
              <ac:cxnSpMk id="5" creationId="{15BEB3CA-A99B-403C-973D-1EB6212FAA56}"/>
            </ac:cxnSpMkLst>
          </pc:cxnChg>
        </pc:sldLayoutChg>
      </pc:sldMasterChg>
    </pc:docChg>
  </pc:docChgLst>
  <pc:docChgLst>
    <pc:chgData name="Katerine Schifino" userId="37bb67de-9fcf-4611-888c-7e5b58184a2a" providerId="ADAL" clId="{FFC930EA-DB3B-4BF8-A71B-329AD02E46CE}"/>
    <pc:docChg chg="undo redo custSel addSld delSld modSld sldOrd">
      <pc:chgData name="Katerine Schifino" userId="37bb67de-9fcf-4611-888c-7e5b58184a2a" providerId="ADAL" clId="{FFC930EA-DB3B-4BF8-A71B-329AD02E46CE}" dt="2022-03-18T21:23:18.224" v="7960" actId="6549"/>
      <pc:docMkLst>
        <pc:docMk/>
      </pc:docMkLst>
      <pc:sldChg chg="addSp delSp modSp mod">
        <pc:chgData name="Katerine Schifino" userId="37bb67de-9fcf-4611-888c-7e5b58184a2a" providerId="ADAL" clId="{FFC930EA-DB3B-4BF8-A71B-329AD02E46CE}" dt="2022-03-15T22:53:14.748" v="323" actId="1076"/>
        <pc:sldMkLst>
          <pc:docMk/>
          <pc:sldMk cId="4072131230" sldId="2080108012"/>
        </pc:sldMkLst>
        <pc:spChg chg="mod">
          <ac:chgData name="Katerine Schifino" userId="37bb67de-9fcf-4611-888c-7e5b58184a2a" providerId="ADAL" clId="{FFC930EA-DB3B-4BF8-A71B-329AD02E46CE}" dt="2022-03-15T22:53:14.748" v="323" actId="1076"/>
          <ac:spMkLst>
            <pc:docMk/>
            <pc:sldMk cId="4072131230" sldId="2080108012"/>
            <ac:spMk id="3" creationId="{FEA9F600-57E1-444E-9B65-D38B4F85ADE7}"/>
          </ac:spMkLst>
        </pc:spChg>
        <pc:picChg chg="add del mod">
          <ac:chgData name="Katerine Schifino" userId="37bb67de-9fcf-4611-888c-7e5b58184a2a" providerId="ADAL" clId="{FFC930EA-DB3B-4BF8-A71B-329AD02E46CE}" dt="2022-03-15T22:51:32.748" v="310" actId="478"/>
          <ac:picMkLst>
            <pc:docMk/>
            <pc:sldMk cId="4072131230" sldId="2080108012"/>
            <ac:picMk id="5" creationId="{2FA67C5B-53B4-4038-8EA8-AAF9DE7D49D5}"/>
          </ac:picMkLst>
        </pc:picChg>
        <pc:picChg chg="del">
          <ac:chgData name="Katerine Schifino" userId="37bb67de-9fcf-4611-888c-7e5b58184a2a" providerId="ADAL" clId="{FFC930EA-DB3B-4BF8-A71B-329AD02E46CE}" dt="2022-03-15T22:45:52.408" v="304" actId="478"/>
          <ac:picMkLst>
            <pc:docMk/>
            <pc:sldMk cId="4072131230" sldId="2080108012"/>
            <ac:picMk id="6" creationId="{15AEC880-6424-4D2D-A43F-EB21D5E3EE22}"/>
          </ac:picMkLst>
        </pc:picChg>
        <pc:picChg chg="add mod">
          <ac:chgData name="Katerine Schifino" userId="37bb67de-9fcf-4611-888c-7e5b58184a2a" providerId="ADAL" clId="{FFC930EA-DB3B-4BF8-A71B-329AD02E46CE}" dt="2022-03-15T22:53:01.694" v="320" actId="1076"/>
          <ac:picMkLst>
            <pc:docMk/>
            <pc:sldMk cId="4072131230" sldId="2080108012"/>
            <ac:picMk id="8" creationId="{9FBE4C97-13A0-4A23-ABE2-CE9F038F9696}"/>
          </ac:picMkLst>
        </pc:picChg>
      </pc:sldChg>
      <pc:sldChg chg="modSp mod">
        <pc:chgData name="Katerine Schifino" userId="37bb67de-9fcf-4611-888c-7e5b58184a2a" providerId="ADAL" clId="{FFC930EA-DB3B-4BF8-A71B-329AD02E46CE}" dt="2022-03-18T20:47:04.502" v="7444" actId="20577"/>
        <pc:sldMkLst>
          <pc:docMk/>
          <pc:sldMk cId="3366330402" sldId="2080108015"/>
        </pc:sldMkLst>
        <pc:graphicFrameChg chg="mod modGraphic">
          <ac:chgData name="Katerine Schifino" userId="37bb67de-9fcf-4611-888c-7e5b58184a2a" providerId="ADAL" clId="{FFC930EA-DB3B-4BF8-A71B-329AD02E46CE}" dt="2022-03-18T20:47:04.502" v="7444" actId="20577"/>
          <ac:graphicFrameMkLst>
            <pc:docMk/>
            <pc:sldMk cId="3366330402" sldId="2080108015"/>
            <ac:graphicFrameMk id="2" creationId="{DABEA71B-03AC-48AD-8E3A-F5B4F36922D0}"/>
          </ac:graphicFrameMkLst>
        </pc:graphicFrameChg>
      </pc:sldChg>
      <pc:sldChg chg="del">
        <pc:chgData name="Katerine Schifino" userId="37bb67de-9fcf-4611-888c-7e5b58184a2a" providerId="ADAL" clId="{FFC930EA-DB3B-4BF8-A71B-329AD02E46CE}" dt="2022-03-14T21:48:12.393" v="206" actId="47"/>
        <pc:sldMkLst>
          <pc:docMk/>
          <pc:sldMk cId="1426497053" sldId="2080108116"/>
        </pc:sldMkLst>
      </pc:sldChg>
      <pc:sldChg chg="modSp del mod">
        <pc:chgData name="Katerine Schifino" userId="37bb67de-9fcf-4611-888c-7e5b58184a2a" providerId="ADAL" clId="{FFC930EA-DB3B-4BF8-A71B-329AD02E46CE}" dt="2022-03-18T16:02:28.185" v="7297" actId="47"/>
        <pc:sldMkLst>
          <pc:docMk/>
          <pc:sldMk cId="4057349764" sldId="2146846065"/>
        </pc:sldMkLst>
        <pc:graphicFrameChg chg="modGraphic">
          <ac:chgData name="Katerine Schifino" userId="37bb67de-9fcf-4611-888c-7e5b58184a2a" providerId="ADAL" clId="{FFC930EA-DB3B-4BF8-A71B-329AD02E46CE}" dt="2022-03-14T21:32:02.810" v="78" actId="2165"/>
          <ac:graphicFrameMkLst>
            <pc:docMk/>
            <pc:sldMk cId="4057349764" sldId="2146846065"/>
            <ac:graphicFrameMk id="2" creationId="{DABEA71B-03AC-48AD-8E3A-F5B4F36922D0}"/>
          </ac:graphicFrameMkLst>
        </pc:graphicFrameChg>
      </pc:sldChg>
      <pc:sldChg chg="modSp del mod ord modNotesTx">
        <pc:chgData name="Katerine Schifino" userId="37bb67de-9fcf-4611-888c-7e5b58184a2a" providerId="ADAL" clId="{FFC930EA-DB3B-4BF8-A71B-329AD02E46CE}" dt="2022-03-16T22:44:09.981" v="2507" actId="47"/>
        <pc:sldMkLst>
          <pc:docMk/>
          <pc:sldMk cId="3769645891" sldId="2146846068"/>
        </pc:sldMkLst>
        <pc:spChg chg="mod">
          <ac:chgData name="Katerine Schifino" userId="37bb67de-9fcf-4611-888c-7e5b58184a2a" providerId="ADAL" clId="{FFC930EA-DB3B-4BF8-A71B-329AD02E46CE}" dt="2022-03-14T21:48:27.137" v="211" actId="14100"/>
          <ac:spMkLst>
            <pc:docMk/>
            <pc:sldMk cId="3769645891" sldId="2146846068"/>
            <ac:spMk id="2" creationId="{C0E9A057-F805-4750-9C97-49B491EDA40C}"/>
          </ac:spMkLst>
        </pc:spChg>
        <pc:spChg chg="mod">
          <ac:chgData name="Katerine Schifino" userId="37bb67de-9fcf-4611-888c-7e5b58184a2a" providerId="ADAL" clId="{FFC930EA-DB3B-4BF8-A71B-329AD02E46CE}" dt="2022-03-14T21:49:25.934" v="239" actId="20577"/>
          <ac:spMkLst>
            <pc:docMk/>
            <pc:sldMk cId="3769645891" sldId="2146846068"/>
            <ac:spMk id="3" creationId="{F4A95292-C17D-4596-AC2A-D617A46EBAA8}"/>
          </ac:spMkLst>
        </pc:spChg>
      </pc:sldChg>
      <pc:sldChg chg="del">
        <pc:chgData name="Katerine Schifino" userId="37bb67de-9fcf-4611-888c-7e5b58184a2a" providerId="ADAL" clId="{FFC930EA-DB3B-4BF8-A71B-329AD02E46CE}" dt="2022-03-14T22:25:12.394" v="285" actId="47"/>
        <pc:sldMkLst>
          <pc:docMk/>
          <pc:sldMk cId="4180197559" sldId="2146846071"/>
        </pc:sldMkLst>
      </pc:sldChg>
      <pc:sldChg chg="addSp delSp modSp mod modNotesTx">
        <pc:chgData name="Katerine Schifino" userId="37bb67de-9fcf-4611-888c-7e5b58184a2a" providerId="ADAL" clId="{FFC930EA-DB3B-4BF8-A71B-329AD02E46CE}" dt="2022-03-18T13:36:58.904" v="5264"/>
        <pc:sldMkLst>
          <pc:docMk/>
          <pc:sldMk cId="712470240" sldId="2146846073"/>
        </pc:sldMkLst>
        <pc:spChg chg="mod">
          <ac:chgData name="Katerine Schifino" userId="37bb67de-9fcf-4611-888c-7e5b58184a2a" providerId="ADAL" clId="{FFC930EA-DB3B-4BF8-A71B-329AD02E46CE}" dt="2022-03-16T20:56:33.599" v="921" actId="113"/>
          <ac:spMkLst>
            <pc:docMk/>
            <pc:sldMk cId="712470240" sldId="2146846073"/>
            <ac:spMk id="3" creationId="{D27D7BD4-79A4-4F74-AEDD-B6DF3D38FA7F}"/>
          </ac:spMkLst>
        </pc:spChg>
        <pc:spChg chg="add del mod">
          <ac:chgData name="Katerine Schifino" userId="37bb67de-9fcf-4611-888c-7e5b58184a2a" providerId="ADAL" clId="{FFC930EA-DB3B-4BF8-A71B-329AD02E46CE}" dt="2022-03-16T21:07:45.792" v="1163"/>
          <ac:spMkLst>
            <pc:docMk/>
            <pc:sldMk cId="712470240" sldId="2146846073"/>
            <ac:spMk id="7" creationId="{62BFD797-5D80-4124-BF51-7BBCAF4E235F}"/>
          </ac:spMkLst>
        </pc:spChg>
        <pc:spChg chg="add del mod">
          <ac:chgData name="Katerine Schifino" userId="37bb67de-9fcf-4611-888c-7e5b58184a2a" providerId="ADAL" clId="{FFC930EA-DB3B-4BF8-A71B-329AD02E46CE}" dt="2022-03-16T21:08:40.993" v="1182"/>
          <ac:spMkLst>
            <pc:docMk/>
            <pc:sldMk cId="712470240" sldId="2146846073"/>
            <ac:spMk id="9" creationId="{67ADC565-094F-48BC-ADB7-B05A29071762}"/>
          </ac:spMkLst>
        </pc:spChg>
        <pc:spChg chg="add del mod">
          <ac:chgData name="Katerine Schifino" userId="37bb67de-9fcf-4611-888c-7e5b58184a2a" providerId="ADAL" clId="{FFC930EA-DB3B-4BF8-A71B-329AD02E46CE}" dt="2022-03-16T21:08:40.993" v="1180" actId="478"/>
          <ac:spMkLst>
            <pc:docMk/>
            <pc:sldMk cId="712470240" sldId="2146846073"/>
            <ac:spMk id="11" creationId="{7DC04297-6C21-4C40-95DB-8EE77A9E8459}"/>
          </ac:spMkLst>
        </pc:spChg>
        <pc:spChg chg="add del mod">
          <ac:chgData name="Katerine Schifino" userId="37bb67de-9fcf-4611-888c-7e5b58184a2a" providerId="ADAL" clId="{FFC930EA-DB3B-4BF8-A71B-329AD02E46CE}" dt="2022-03-17T18:18:15.193" v="3464" actId="20577"/>
          <ac:spMkLst>
            <pc:docMk/>
            <pc:sldMk cId="712470240" sldId="2146846073"/>
            <ac:spMk id="12" creationId="{51B87A01-4710-42DB-8E69-26662099BE41}"/>
          </ac:spMkLst>
        </pc:spChg>
        <pc:spChg chg="add del mod">
          <ac:chgData name="Katerine Schifino" userId="37bb67de-9fcf-4611-888c-7e5b58184a2a" providerId="ADAL" clId="{FFC930EA-DB3B-4BF8-A71B-329AD02E46CE}" dt="2022-03-16T21:07:35.718" v="1157" actId="478"/>
          <ac:spMkLst>
            <pc:docMk/>
            <pc:sldMk cId="712470240" sldId="2146846073"/>
            <ac:spMk id="13" creationId="{36348874-785D-474A-B65E-EC75276A3A34}"/>
          </ac:spMkLst>
        </pc:spChg>
        <pc:spChg chg="add mod">
          <ac:chgData name="Katerine Schifino" userId="37bb67de-9fcf-4611-888c-7e5b58184a2a" providerId="ADAL" clId="{FFC930EA-DB3B-4BF8-A71B-329AD02E46CE}" dt="2022-03-16T21:15:35.975" v="1259" actId="1076"/>
          <ac:spMkLst>
            <pc:docMk/>
            <pc:sldMk cId="712470240" sldId="2146846073"/>
            <ac:spMk id="14" creationId="{8371BBDF-90A7-40F1-9501-16B1854E818D}"/>
          </ac:spMkLst>
        </pc:spChg>
        <pc:spChg chg="add del mod">
          <ac:chgData name="Katerine Schifino" userId="37bb67de-9fcf-4611-888c-7e5b58184a2a" providerId="ADAL" clId="{FFC930EA-DB3B-4BF8-A71B-329AD02E46CE}" dt="2022-03-16T21:08:50.984" v="1187" actId="478"/>
          <ac:spMkLst>
            <pc:docMk/>
            <pc:sldMk cId="712470240" sldId="2146846073"/>
            <ac:spMk id="15" creationId="{A3A5425F-846A-48F1-8751-0D7E69252198}"/>
          </ac:spMkLst>
        </pc:spChg>
        <pc:spChg chg="add del mod">
          <ac:chgData name="Katerine Schifino" userId="37bb67de-9fcf-4611-888c-7e5b58184a2a" providerId="ADAL" clId="{FFC930EA-DB3B-4BF8-A71B-329AD02E46CE}" dt="2022-03-16T21:09:51.624" v="1206" actId="478"/>
          <ac:spMkLst>
            <pc:docMk/>
            <pc:sldMk cId="712470240" sldId="2146846073"/>
            <ac:spMk id="17" creationId="{E68B9C03-D9F8-422C-B8E6-A462140510EC}"/>
          </ac:spMkLst>
        </pc:spChg>
        <pc:spChg chg="mod">
          <ac:chgData name="Katerine Schifino" userId="37bb67de-9fcf-4611-888c-7e5b58184a2a" providerId="ADAL" clId="{FFC930EA-DB3B-4BF8-A71B-329AD02E46CE}" dt="2022-03-17T18:20:20.521" v="3512" actId="20577"/>
          <ac:spMkLst>
            <pc:docMk/>
            <pc:sldMk cId="712470240" sldId="2146846073"/>
            <ac:spMk id="22" creationId="{B15B348E-54F1-42CE-8C06-1E5D4921E0A4}"/>
          </ac:spMkLst>
        </pc:spChg>
        <pc:spChg chg="mod">
          <ac:chgData name="Katerine Schifino" userId="37bb67de-9fcf-4611-888c-7e5b58184a2a" providerId="ADAL" clId="{FFC930EA-DB3B-4BF8-A71B-329AD02E46CE}" dt="2022-03-16T21:16:25.198" v="1272" actId="1076"/>
          <ac:spMkLst>
            <pc:docMk/>
            <pc:sldMk cId="712470240" sldId="2146846073"/>
            <ac:spMk id="23" creationId="{222F9957-FE85-495F-81DA-29B542BFBAA5}"/>
          </ac:spMkLst>
        </pc:spChg>
        <pc:spChg chg="add del mod">
          <ac:chgData name="Katerine Schifino" userId="37bb67de-9fcf-4611-888c-7e5b58184a2a" providerId="ADAL" clId="{FFC930EA-DB3B-4BF8-A71B-329AD02E46CE}" dt="2022-03-16T20:46:31.525" v="790" actId="478"/>
          <ac:spMkLst>
            <pc:docMk/>
            <pc:sldMk cId="712470240" sldId="2146846073"/>
            <ac:spMk id="24" creationId="{664FDE2F-D8B6-4908-BB74-F7111FE192A0}"/>
          </ac:spMkLst>
        </pc:spChg>
        <pc:spChg chg="add del mod">
          <ac:chgData name="Katerine Schifino" userId="37bb67de-9fcf-4611-888c-7e5b58184a2a" providerId="ADAL" clId="{FFC930EA-DB3B-4BF8-A71B-329AD02E46CE}" dt="2022-03-16T20:46:31.525" v="790" actId="478"/>
          <ac:spMkLst>
            <pc:docMk/>
            <pc:sldMk cId="712470240" sldId="2146846073"/>
            <ac:spMk id="25" creationId="{7B0FF2C8-2CD1-4079-BA2F-BD45B4F81110}"/>
          </ac:spMkLst>
        </pc:spChg>
        <pc:spChg chg="add del">
          <ac:chgData name="Katerine Schifino" userId="37bb67de-9fcf-4611-888c-7e5b58184a2a" providerId="ADAL" clId="{FFC930EA-DB3B-4BF8-A71B-329AD02E46CE}" dt="2022-03-14T21:49:40.718" v="240" actId="478"/>
          <ac:spMkLst>
            <pc:docMk/>
            <pc:sldMk cId="712470240" sldId="2146846073"/>
            <ac:spMk id="26" creationId="{AD377BC6-9D40-473F-9391-BD5E7A91EAEA}"/>
          </ac:spMkLst>
        </pc:spChg>
        <pc:spChg chg="mod">
          <ac:chgData name="Katerine Schifino" userId="37bb67de-9fcf-4611-888c-7e5b58184a2a" providerId="ADAL" clId="{FFC930EA-DB3B-4BF8-A71B-329AD02E46CE}" dt="2022-03-17T18:24:04.722" v="3618" actId="20577"/>
          <ac:spMkLst>
            <pc:docMk/>
            <pc:sldMk cId="712470240" sldId="2146846073"/>
            <ac:spMk id="27" creationId="{310E0701-645A-43DB-BF53-EF2702ED3640}"/>
          </ac:spMkLst>
        </pc:spChg>
        <pc:spChg chg="mod">
          <ac:chgData name="Katerine Schifino" userId="37bb67de-9fcf-4611-888c-7e5b58184a2a" providerId="ADAL" clId="{FFC930EA-DB3B-4BF8-A71B-329AD02E46CE}" dt="2022-03-16T21:19:48.487" v="1317" actId="1076"/>
          <ac:spMkLst>
            <pc:docMk/>
            <pc:sldMk cId="712470240" sldId="2146846073"/>
            <ac:spMk id="28" creationId="{C09560CA-7F4C-4396-AC15-151A9DE67915}"/>
          </ac:spMkLst>
        </pc:spChg>
        <pc:spChg chg="mod">
          <ac:chgData name="Katerine Schifino" userId="37bb67de-9fcf-4611-888c-7e5b58184a2a" providerId="ADAL" clId="{FFC930EA-DB3B-4BF8-A71B-329AD02E46CE}" dt="2022-03-18T13:20:06.990" v="4877" actId="20577"/>
          <ac:spMkLst>
            <pc:docMk/>
            <pc:sldMk cId="712470240" sldId="2146846073"/>
            <ac:spMk id="30" creationId="{D8157CB6-4DF4-43E1-8A7F-40D04CEFD42B}"/>
          </ac:spMkLst>
        </pc:spChg>
        <pc:spChg chg="mod">
          <ac:chgData name="Katerine Schifino" userId="37bb67de-9fcf-4611-888c-7e5b58184a2a" providerId="ADAL" clId="{FFC930EA-DB3B-4BF8-A71B-329AD02E46CE}" dt="2022-03-17T18:25:08.180" v="3695" actId="20577"/>
          <ac:spMkLst>
            <pc:docMk/>
            <pc:sldMk cId="712470240" sldId="2146846073"/>
            <ac:spMk id="31" creationId="{298D04EC-731A-4E2B-BC2B-64E63AB91913}"/>
          </ac:spMkLst>
        </pc:spChg>
        <pc:spChg chg="mod">
          <ac:chgData name="Katerine Schifino" userId="37bb67de-9fcf-4611-888c-7e5b58184a2a" providerId="ADAL" clId="{FFC930EA-DB3B-4BF8-A71B-329AD02E46CE}" dt="2022-03-16T21:19:15.051" v="1307" actId="1076"/>
          <ac:spMkLst>
            <pc:docMk/>
            <pc:sldMk cId="712470240" sldId="2146846073"/>
            <ac:spMk id="32" creationId="{E70A6C4A-B924-47FF-9C04-30112EA33F8B}"/>
          </ac:spMkLst>
        </pc:spChg>
        <pc:spChg chg="mod">
          <ac:chgData name="Katerine Schifino" userId="37bb67de-9fcf-4611-888c-7e5b58184a2a" providerId="ADAL" clId="{FFC930EA-DB3B-4BF8-A71B-329AD02E46CE}" dt="2022-03-17T18:25:17.821" v="3709" actId="20577"/>
          <ac:spMkLst>
            <pc:docMk/>
            <pc:sldMk cId="712470240" sldId="2146846073"/>
            <ac:spMk id="34" creationId="{803BEE7A-6BB0-4635-BE58-36C7A974C93A}"/>
          </ac:spMkLst>
        </pc:spChg>
        <pc:spChg chg="mod">
          <ac:chgData name="Katerine Schifino" userId="37bb67de-9fcf-4611-888c-7e5b58184a2a" providerId="ADAL" clId="{FFC930EA-DB3B-4BF8-A71B-329AD02E46CE}" dt="2022-03-16T21:18:56.724" v="1305" actId="1076"/>
          <ac:spMkLst>
            <pc:docMk/>
            <pc:sldMk cId="712470240" sldId="2146846073"/>
            <ac:spMk id="35" creationId="{618F10DB-2C70-49E7-8530-5045C09DA73B}"/>
          </ac:spMkLst>
        </pc:spChg>
        <pc:spChg chg="mod">
          <ac:chgData name="Katerine Schifino" userId="37bb67de-9fcf-4611-888c-7e5b58184a2a" providerId="ADAL" clId="{FFC930EA-DB3B-4BF8-A71B-329AD02E46CE}" dt="2022-03-17T20:06:13.340" v="4564" actId="20577"/>
          <ac:spMkLst>
            <pc:docMk/>
            <pc:sldMk cId="712470240" sldId="2146846073"/>
            <ac:spMk id="37" creationId="{91C406C6-624A-4836-9875-10922188F90B}"/>
          </ac:spMkLst>
        </pc:spChg>
        <pc:spChg chg="mod">
          <ac:chgData name="Katerine Schifino" userId="37bb67de-9fcf-4611-888c-7e5b58184a2a" providerId="ADAL" clId="{FFC930EA-DB3B-4BF8-A71B-329AD02E46CE}" dt="2022-03-16T21:16:59.430" v="1281" actId="1076"/>
          <ac:spMkLst>
            <pc:docMk/>
            <pc:sldMk cId="712470240" sldId="2146846073"/>
            <ac:spMk id="38" creationId="{68685468-2775-4F0C-9B64-4EE07926E18E}"/>
          </ac:spMkLst>
        </pc:spChg>
        <pc:grpChg chg="add mod">
          <ac:chgData name="Katerine Schifino" userId="37bb67de-9fcf-4611-888c-7e5b58184a2a" providerId="ADAL" clId="{FFC930EA-DB3B-4BF8-A71B-329AD02E46CE}" dt="2022-03-17T18:14:07.243" v="3387" actId="1036"/>
          <ac:grpSpMkLst>
            <pc:docMk/>
            <pc:sldMk cId="712470240" sldId="2146846073"/>
            <ac:grpSpMk id="2" creationId="{5F13D6B2-A612-4AE4-8CCE-3AEB4C603C3C}"/>
          </ac:grpSpMkLst>
        </pc:grpChg>
        <pc:grpChg chg="del">
          <ac:chgData name="Katerine Schifino" userId="37bb67de-9fcf-4611-888c-7e5b58184a2a" providerId="ADAL" clId="{FFC930EA-DB3B-4BF8-A71B-329AD02E46CE}" dt="2022-03-14T21:41:58.047" v="108" actId="478"/>
          <ac:grpSpMkLst>
            <pc:docMk/>
            <pc:sldMk cId="712470240" sldId="2146846073"/>
            <ac:grpSpMk id="10" creationId="{B4B43A47-6457-49A6-8EE2-A695193BF980}"/>
          </ac:grpSpMkLst>
        </pc:grpChg>
        <pc:grpChg chg="add mod">
          <ac:chgData name="Katerine Schifino" userId="37bb67de-9fcf-4611-888c-7e5b58184a2a" providerId="ADAL" clId="{FFC930EA-DB3B-4BF8-A71B-329AD02E46CE}" dt="2022-03-17T18:14:03.467" v="3367" actId="164"/>
          <ac:grpSpMkLst>
            <pc:docMk/>
            <pc:sldMk cId="712470240" sldId="2146846073"/>
            <ac:grpSpMk id="16" creationId="{F1F960F4-CFA2-4864-8AE6-84C365297F13}"/>
          </ac:grpSpMkLst>
        </pc:grpChg>
        <pc:grpChg chg="del">
          <ac:chgData name="Katerine Schifino" userId="37bb67de-9fcf-4611-888c-7e5b58184a2a" providerId="ADAL" clId="{FFC930EA-DB3B-4BF8-A71B-329AD02E46CE}" dt="2022-03-14T21:41:58.047" v="108" actId="478"/>
          <ac:grpSpMkLst>
            <pc:docMk/>
            <pc:sldMk cId="712470240" sldId="2146846073"/>
            <ac:grpSpMk id="19" creationId="{CF631584-7E49-4E86-8E81-CD6275F6C785}"/>
          </ac:grpSpMkLst>
        </pc:grpChg>
        <pc:grpChg chg="add mod">
          <ac:chgData name="Katerine Schifino" userId="37bb67de-9fcf-4611-888c-7e5b58184a2a" providerId="ADAL" clId="{FFC930EA-DB3B-4BF8-A71B-329AD02E46CE}" dt="2022-03-17T18:14:03.467" v="3367" actId="164"/>
          <ac:grpSpMkLst>
            <pc:docMk/>
            <pc:sldMk cId="712470240" sldId="2146846073"/>
            <ac:grpSpMk id="21" creationId="{A0F2C1A2-BD00-4EAD-870D-04011C04775C}"/>
          </ac:grpSpMkLst>
        </pc:grpChg>
        <pc:grpChg chg="del">
          <ac:chgData name="Katerine Schifino" userId="37bb67de-9fcf-4611-888c-7e5b58184a2a" providerId="ADAL" clId="{FFC930EA-DB3B-4BF8-A71B-329AD02E46CE}" dt="2022-03-14T21:41:58.047" v="108" actId="478"/>
          <ac:grpSpMkLst>
            <pc:docMk/>
            <pc:sldMk cId="712470240" sldId="2146846073"/>
            <ac:grpSpMk id="23" creationId="{A2CDDBF8-4862-4521-9F9B-AD100E77F5F9}"/>
          </ac:grpSpMkLst>
        </pc:grpChg>
        <pc:grpChg chg="add mod">
          <ac:chgData name="Katerine Schifino" userId="37bb67de-9fcf-4611-888c-7e5b58184a2a" providerId="ADAL" clId="{FFC930EA-DB3B-4BF8-A71B-329AD02E46CE}" dt="2022-03-17T18:14:03.467" v="3367" actId="164"/>
          <ac:grpSpMkLst>
            <pc:docMk/>
            <pc:sldMk cId="712470240" sldId="2146846073"/>
            <ac:grpSpMk id="26" creationId="{067EFEAC-CA9B-49F3-B6D3-299B27810F7B}"/>
          </ac:grpSpMkLst>
        </pc:grpChg>
        <pc:grpChg chg="add mod">
          <ac:chgData name="Katerine Schifino" userId="37bb67de-9fcf-4611-888c-7e5b58184a2a" providerId="ADAL" clId="{FFC930EA-DB3B-4BF8-A71B-329AD02E46CE}" dt="2022-03-17T18:14:03.467" v="3367" actId="164"/>
          <ac:grpSpMkLst>
            <pc:docMk/>
            <pc:sldMk cId="712470240" sldId="2146846073"/>
            <ac:grpSpMk id="29" creationId="{EC1BC069-C03F-4D72-A93C-39357C854BFD}"/>
          </ac:grpSpMkLst>
        </pc:grpChg>
        <pc:grpChg chg="add mod">
          <ac:chgData name="Katerine Schifino" userId="37bb67de-9fcf-4611-888c-7e5b58184a2a" providerId="ADAL" clId="{FFC930EA-DB3B-4BF8-A71B-329AD02E46CE}" dt="2022-03-17T18:14:03.467" v="3367" actId="164"/>
          <ac:grpSpMkLst>
            <pc:docMk/>
            <pc:sldMk cId="712470240" sldId="2146846073"/>
            <ac:grpSpMk id="33" creationId="{32A65F67-EAAC-4F8C-9204-02A2AE9C31B4}"/>
          </ac:grpSpMkLst>
        </pc:grpChg>
        <pc:grpChg chg="add mod">
          <ac:chgData name="Katerine Schifino" userId="37bb67de-9fcf-4611-888c-7e5b58184a2a" providerId="ADAL" clId="{FFC930EA-DB3B-4BF8-A71B-329AD02E46CE}" dt="2022-03-17T18:14:03.467" v="3367" actId="164"/>
          <ac:grpSpMkLst>
            <pc:docMk/>
            <pc:sldMk cId="712470240" sldId="2146846073"/>
            <ac:grpSpMk id="36" creationId="{07C934A3-4699-4B5F-858F-A6F86EAA8A92}"/>
          </ac:grpSpMkLst>
        </pc:grpChg>
        <pc:graphicFrameChg chg="del">
          <ac:chgData name="Katerine Schifino" userId="37bb67de-9fcf-4611-888c-7e5b58184a2a" providerId="ADAL" clId="{FFC930EA-DB3B-4BF8-A71B-329AD02E46CE}" dt="2022-03-14T21:41:58.047" v="108" actId="478"/>
          <ac:graphicFrameMkLst>
            <pc:docMk/>
            <pc:sldMk cId="712470240" sldId="2146846073"/>
            <ac:graphicFrameMk id="4" creationId="{326B6A2F-F2C7-4441-BB0F-3A06BF275B7F}"/>
          </ac:graphicFrameMkLst>
        </pc:graphicFrameChg>
        <pc:picChg chg="del">
          <ac:chgData name="Katerine Schifino" userId="37bb67de-9fcf-4611-888c-7e5b58184a2a" providerId="ADAL" clId="{FFC930EA-DB3B-4BF8-A71B-329AD02E46CE}" dt="2022-03-14T21:41:58.047" v="108" actId="478"/>
          <ac:picMkLst>
            <pc:docMk/>
            <pc:sldMk cId="712470240" sldId="2146846073"/>
            <ac:picMk id="12" creationId="{99840CD3-749B-4C75-B90F-8DB28CBD5C4C}"/>
          </ac:picMkLst>
        </pc:picChg>
        <pc:picChg chg="del">
          <ac:chgData name="Katerine Schifino" userId="37bb67de-9fcf-4611-888c-7e5b58184a2a" providerId="ADAL" clId="{FFC930EA-DB3B-4BF8-A71B-329AD02E46CE}" dt="2022-03-14T21:41:58.047" v="108" actId="478"/>
          <ac:picMkLst>
            <pc:docMk/>
            <pc:sldMk cId="712470240" sldId="2146846073"/>
            <ac:picMk id="14" creationId="{3F9525FD-F953-4DA6-894B-697C087CD3CD}"/>
          </ac:picMkLst>
        </pc:picChg>
        <pc:picChg chg="add mod">
          <ac:chgData name="Katerine Schifino" userId="37bb67de-9fcf-4611-888c-7e5b58184a2a" providerId="ADAL" clId="{FFC930EA-DB3B-4BF8-A71B-329AD02E46CE}" dt="2022-03-17T18:14:03.467" v="3367" actId="164"/>
          <ac:picMkLst>
            <pc:docMk/>
            <pc:sldMk cId="712470240" sldId="2146846073"/>
            <ac:picMk id="19" creationId="{D4761E16-0126-44C4-9C17-574DB16E9761}"/>
          </ac:picMkLst>
        </pc:picChg>
        <pc:picChg chg="del">
          <ac:chgData name="Katerine Schifino" userId="37bb67de-9fcf-4611-888c-7e5b58184a2a" providerId="ADAL" clId="{FFC930EA-DB3B-4BF8-A71B-329AD02E46CE}" dt="2022-03-14T21:41:58.047" v="108" actId="478"/>
          <ac:picMkLst>
            <pc:docMk/>
            <pc:sldMk cId="712470240" sldId="2146846073"/>
            <ac:picMk id="27" creationId="{E50DBF20-B1F7-45DE-9E7D-7DF5DF8C285E}"/>
          </ac:picMkLst>
        </pc:picChg>
        <pc:picChg chg="del">
          <ac:chgData name="Katerine Schifino" userId="37bb67de-9fcf-4611-888c-7e5b58184a2a" providerId="ADAL" clId="{FFC930EA-DB3B-4BF8-A71B-329AD02E46CE}" dt="2022-03-14T21:41:58.047" v="108" actId="478"/>
          <ac:picMkLst>
            <pc:docMk/>
            <pc:sldMk cId="712470240" sldId="2146846073"/>
            <ac:picMk id="29" creationId="{505C2299-8E21-4BB5-9277-7D1C3E37222B}"/>
          </ac:picMkLst>
        </pc:picChg>
        <pc:picChg chg="add del mod">
          <ac:chgData name="Katerine Schifino" userId="37bb67de-9fcf-4611-888c-7e5b58184a2a" providerId="ADAL" clId="{FFC930EA-DB3B-4BF8-A71B-329AD02E46CE}" dt="2022-03-16T21:17:59.865" v="1291" actId="478"/>
          <ac:picMkLst>
            <pc:docMk/>
            <pc:sldMk cId="712470240" sldId="2146846073"/>
            <ac:picMk id="39" creationId="{A4ABB5A2-70C2-490F-AFBF-1008C6059E57}"/>
          </ac:picMkLst>
        </pc:picChg>
        <pc:picChg chg="add del mod">
          <ac:chgData name="Katerine Schifino" userId="37bb67de-9fcf-4611-888c-7e5b58184a2a" providerId="ADAL" clId="{FFC930EA-DB3B-4BF8-A71B-329AD02E46CE}" dt="2022-03-16T21:13:45.978" v="1236" actId="478"/>
          <ac:picMkLst>
            <pc:docMk/>
            <pc:sldMk cId="712470240" sldId="2146846073"/>
            <ac:picMk id="41" creationId="{D6D77F36-FAA4-4609-A725-9AEF044A332C}"/>
          </ac:picMkLst>
        </pc:picChg>
        <pc:picChg chg="add del mod">
          <ac:chgData name="Katerine Schifino" userId="37bb67de-9fcf-4611-888c-7e5b58184a2a" providerId="ADAL" clId="{FFC930EA-DB3B-4BF8-A71B-329AD02E46CE}" dt="2022-03-16T21:13:37.494" v="1233" actId="478"/>
          <ac:picMkLst>
            <pc:docMk/>
            <pc:sldMk cId="712470240" sldId="2146846073"/>
            <ac:picMk id="43" creationId="{C7E9726C-E23B-4942-AEC1-B86D87EFDD95}"/>
          </ac:picMkLst>
        </pc:picChg>
        <pc:picChg chg="add del mod">
          <ac:chgData name="Katerine Schifino" userId="37bb67de-9fcf-4611-888c-7e5b58184a2a" providerId="ADAL" clId="{FFC930EA-DB3B-4BF8-A71B-329AD02E46CE}" dt="2022-03-16T21:13:50.973" v="1238" actId="478"/>
          <ac:picMkLst>
            <pc:docMk/>
            <pc:sldMk cId="712470240" sldId="2146846073"/>
            <ac:picMk id="45" creationId="{C7BE00F6-4865-4E5A-ABC8-76CA6BC7AF15}"/>
          </ac:picMkLst>
        </pc:picChg>
        <pc:picChg chg="add mod">
          <ac:chgData name="Katerine Schifino" userId="37bb67de-9fcf-4611-888c-7e5b58184a2a" providerId="ADAL" clId="{FFC930EA-DB3B-4BF8-A71B-329AD02E46CE}" dt="2022-03-17T18:14:03.467" v="3367" actId="164"/>
          <ac:picMkLst>
            <pc:docMk/>
            <pc:sldMk cId="712470240" sldId="2146846073"/>
            <ac:picMk id="47" creationId="{0B26750E-90FF-4DB3-AAD1-4059DA11AED8}"/>
          </ac:picMkLst>
        </pc:picChg>
        <pc:picChg chg="add mod">
          <ac:chgData name="Katerine Schifino" userId="37bb67de-9fcf-4611-888c-7e5b58184a2a" providerId="ADAL" clId="{FFC930EA-DB3B-4BF8-A71B-329AD02E46CE}" dt="2022-03-17T18:14:03.467" v="3367" actId="164"/>
          <ac:picMkLst>
            <pc:docMk/>
            <pc:sldMk cId="712470240" sldId="2146846073"/>
            <ac:picMk id="49" creationId="{34E99E25-BA81-4B58-93BA-6AE1EB55C444}"/>
          </ac:picMkLst>
        </pc:picChg>
        <pc:picChg chg="add del mod">
          <ac:chgData name="Katerine Schifino" userId="37bb67de-9fcf-4611-888c-7e5b58184a2a" providerId="ADAL" clId="{FFC930EA-DB3B-4BF8-A71B-329AD02E46CE}" dt="2022-03-16T21:15:08.567" v="1244" actId="478"/>
          <ac:picMkLst>
            <pc:docMk/>
            <pc:sldMk cId="712470240" sldId="2146846073"/>
            <ac:picMk id="51" creationId="{4FB76472-677F-4C04-B5AC-2E1B1AF2E4D9}"/>
          </ac:picMkLst>
        </pc:picChg>
        <pc:picChg chg="add del mod">
          <ac:chgData name="Katerine Schifino" userId="37bb67de-9fcf-4611-888c-7e5b58184a2a" providerId="ADAL" clId="{FFC930EA-DB3B-4BF8-A71B-329AD02E46CE}" dt="2022-03-16T21:13:52.795" v="1239" actId="478"/>
          <ac:picMkLst>
            <pc:docMk/>
            <pc:sldMk cId="712470240" sldId="2146846073"/>
            <ac:picMk id="53" creationId="{EF8673D9-AB1B-48D0-928E-852664D8933C}"/>
          </ac:picMkLst>
        </pc:picChg>
        <pc:picChg chg="add mod">
          <ac:chgData name="Katerine Schifino" userId="37bb67de-9fcf-4611-888c-7e5b58184a2a" providerId="ADAL" clId="{FFC930EA-DB3B-4BF8-A71B-329AD02E46CE}" dt="2022-03-17T18:14:03.467" v="3367" actId="164"/>
          <ac:picMkLst>
            <pc:docMk/>
            <pc:sldMk cId="712470240" sldId="2146846073"/>
            <ac:picMk id="55" creationId="{CC5B48A4-EF05-4945-8AFA-6974BE41CE86}"/>
          </ac:picMkLst>
        </pc:picChg>
        <pc:picChg chg="add mod">
          <ac:chgData name="Katerine Schifino" userId="37bb67de-9fcf-4611-888c-7e5b58184a2a" providerId="ADAL" clId="{FFC930EA-DB3B-4BF8-A71B-329AD02E46CE}" dt="2022-03-17T18:14:03.467" v="3367" actId="164"/>
          <ac:picMkLst>
            <pc:docMk/>
            <pc:sldMk cId="712470240" sldId="2146846073"/>
            <ac:picMk id="57" creationId="{980A3E94-DCE7-4122-A1BA-E42D5D993C25}"/>
          </ac:picMkLst>
        </pc:picChg>
        <pc:picChg chg="add mod">
          <ac:chgData name="Katerine Schifino" userId="37bb67de-9fcf-4611-888c-7e5b58184a2a" providerId="ADAL" clId="{FFC930EA-DB3B-4BF8-A71B-329AD02E46CE}" dt="2022-03-17T18:14:03.467" v="3367" actId="164"/>
          <ac:picMkLst>
            <pc:docMk/>
            <pc:sldMk cId="712470240" sldId="2146846073"/>
            <ac:picMk id="59" creationId="{00046383-44AB-4B59-8FCE-4577365F2AA1}"/>
          </ac:picMkLst>
        </pc:picChg>
      </pc:sldChg>
      <pc:sldChg chg="del">
        <pc:chgData name="Katerine Schifino" userId="37bb67de-9fcf-4611-888c-7e5b58184a2a" providerId="ADAL" clId="{FFC930EA-DB3B-4BF8-A71B-329AD02E46CE}" dt="2022-03-14T22:25:19.686" v="293" actId="47"/>
        <pc:sldMkLst>
          <pc:docMk/>
          <pc:sldMk cId="3012924003" sldId="2146846074"/>
        </pc:sldMkLst>
      </pc:sldChg>
      <pc:sldChg chg="del">
        <pc:chgData name="Katerine Schifino" userId="37bb67de-9fcf-4611-888c-7e5b58184a2a" providerId="ADAL" clId="{FFC930EA-DB3B-4BF8-A71B-329AD02E46CE}" dt="2022-03-14T22:25:21.430" v="296" actId="47"/>
        <pc:sldMkLst>
          <pc:docMk/>
          <pc:sldMk cId="4122836090" sldId="2146846075"/>
        </pc:sldMkLst>
      </pc:sldChg>
      <pc:sldChg chg="del">
        <pc:chgData name="Katerine Schifino" userId="37bb67de-9fcf-4611-888c-7e5b58184a2a" providerId="ADAL" clId="{FFC930EA-DB3B-4BF8-A71B-329AD02E46CE}" dt="2022-03-14T22:25:20.775" v="295" actId="47"/>
        <pc:sldMkLst>
          <pc:docMk/>
          <pc:sldMk cId="1404460967" sldId="2146846076"/>
        </pc:sldMkLst>
      </pc:sldChg>
      <pc:sldChg chg="del">
        <pc:chgData name="Katerine Schifino" userId="37bb67de-9fcf-4611-888c-7e5b58184a2a" providerId="ADAL" clId="{FFC930EA-DB3B-4BF8-A71B-329AD02E46CE}" dt="2022-03-14T22:25:20.181" v="294" actId="47"/>
        <pc:sldMkLst>
          <pc:docMk/>
          <pc:sldMk cId="1683932540" sldId="2146846077"/>
        </pc:sldMkLst>
      </pc:sldChg>
      <pc:sldChg chg="del">
        <pc:chgData name="Katerine Schifino" userId="37bb67de-9fcf-4611-888c-7e5b58184a2a" providerId="ADAL" clId="{FFC930EA-DB3B-4BF8-A71B-329AD02E46CE}" dt="2022-03-14T22:25:13.607" v="289" actId="47"/>
        <pc:sldMkLst>
          <pc:docMk/>
          <pc:sldMk cId="2001048157" sldId="2146846079"/>
        </pc:sldMkLst>
      </pc:sldChg>
      <pc:sldChg chg="del">
        <pc:chgData name="Katerine Schifino" userId="37bb67de-9fcf-4611-888c-7e5b58184a2a" providerId="ADAL" clId="{FFC930EA-DB3B-4BF8-A71B-329AD02E46CE}" dt="2022-03-14T22:25:13.056" v="286" actId="47"/>
        <pc:sldMkLst>
          <pc:docMk/>
          <pc:sldMk cId="4029788326" sldId="2146846083"/>
        </pc:sldMkLst>
      </pc:sldChg>
      <pc:sldChg chg="del">
        <pc:chgData name="Katerine Schifino" userId="37bb67de-9fcf-4611-888c-7e5b58184a2a" providerId="ADAL" clId="{FFC930EA-DB3B-4BF8-A71B-329AD02E46CE}" dt="2022-03-14T22:25:17.459" v="290" actId="47"/>
        <pc:sldMkLst>
          <pc:docMk/>
          <pc:sldMk cId="1230900351" sldId="2146846085"/>
        </pc:sldMkLst>
      </pc:sldChg>
      <pc:sldChg chg="del">
        <pc:chgData name="Katerine Schifino" userId="37bb67de-9fcf-4611-888c-7e5b58184a2a" providerId="ADAL" clId="{FFC930EA-DB3B-4BF8-A71B-329AD02E46CE}" dt="2022-03-14T22:25:18.443" v="291" actId="47"/>
        <pc:sldMkLst>
          <pc:docMk/>
          <pc:sldMk cId="2851014050" sldId="2146846086"/>
        </pc:sldMkLst>
      </pc:sldChg>
      <pc:sldChg chg="del">
        <pc:chgData name="Katerine Schifino" userId="37bb67de-9fcf-4611-888c-7e5b58184a2a" providerId="ADAL" clId="{FFC930EA-DB3B-4BF8-A71B-329AD02E46CE}" dt="2022-03-17T22:26:44.611" v="4849" actId="47"/>
        <pc:sldMkLst>
          <pc:docMk/>
          <pc:sldMk cId="383325140" sldId="2146846088"/>
        </pc:sldMkLst>
      </pc:sldChg>
      <pc:sldChg chg="addSp delSp modSp mod modNotesTx">
        <pc:chgData name="Katerine Schifino" userId="37bb67de-9fcf-4611-888c-7e5b58184a2a" providerId="ADAL" clId="{FFC930EA-DB3B-4BF8-A71B-329AD02E46CE}" dt="2022-03-18T21:11:55.167" v="7451" actId="2165"/>
        <pc:sldMkLst>
          <pc:docMk/>
          <pc:sldMk cId="3736734467" sldId="2146846089"/>
        </pc:sldMkLst>
        <pc:graphicFrameChg chg="del mod modGraphic">
          <ac:chgData name="Katerine Schifino" userId="37bb67de-9fcf-4611-888c-7e5b58184a2a" providerId="ADAL" clId="{FFC930EA-DB3B-4BF8-A71B-329AD02E46CE}" dt="2022-03-18T16:04:33.720" v="7332" actId="478"/>
          <ac:graphicFrameMkLst>
            <pc:docMk/>
            <pc:sldMk cId="3736734467" sldId="2146846089"/>
            <ac:graphicFrameMk id="2" creationId="{DABEA71B-03AC-48AD-8E3A-F5B4F36922D0}"/>
          </ac:graphicFrameMkLst>
        </pc:graphicFrameChg>
        <pc:graphicFrameChg chg="add mod modGraphic">
          <ac:chgData name="Katerine Schifino" userId="37bb67de-9fcf-4611-888c-7e5b58184a2a" providerId="ADAL" clId="{FFC930EA-DB3B-4BF8-A71B-329AD02E46CE}" dt="2022-03-18T21:11:55.167" v="7451" actId="2165"/>
          <ac:graphicFrameMkLst>
            <pc:docMk/>
            <pc:sldMk cId="3736734467" sldId="2146846089"/>
            <ac:graphicFrameMk id="7" creationId="{D46312A1-FEC2-44EE-9A1F-92CAAC2AD827}"/>
          </ac:graphicFrameMkLst>
        </pc:graphicFrameChg>
      </pc:sldChg>
      <pc:sldChg chg="del">
        <pc:chgData name="Katerine Schifino" userId="37bb67de-9fcf-4611-888c-7e5b58184a2a" providerId="ADAL" clId="{FFC930EA-DB3B-4BF8-A71B-329AD02E46CE}" dt="2022-03-14T22:25:11.787" v="284" actId="47"/>
        <pc:sldMkLst>
          <pc:docMk/>
          <pc:sldMk cId="1449545104" sldId="2146846090"/>
        </pc:sldMkLst>
      </pc:sldChg>
      <pc:sldChg chg="del">
        <pc:chgData name="Katerine Schifino" userId="37bb67de-9fcf-4611-888c-7e5b58184a2a" providerId="ADAL" clId="{FFC930EA-DB3B-4BF8-A71B-329AD02E46CE}" dt="2022-03-14T22:25:13.442" v="288" actId="47"/>
        <pc:sldMkLst>
          <pc:docMk/>
          <pc:sldMk cId="198724141" sldId="2146846091"/>
        </pc:sldMkLst>
      </pc:sldChg>
      <pc:sldChg chg="del">
        <pc:chgData name="Katerine Schifino" userId="37bb67de-9fcf-4611-888c-7e5b58184a2a" providerId="ADAL" clId="{FFC930EA-DB3B-4BF8-A71B-329AD02E46CE}" dt="2022-03-14T22:25:19.088" v="292" actId="47"/>
        <pc:sldMkLst>
          <pc:docMk/>
          <pc:sldMk cId="1165044527" sldId="2146846092"/>
        </pc:sldMkLst>
      </pc:sldChg>
      <pc:sldChg chg="del">
        <pc:chgData name="Katerine Schifino" userId="37bb67de-9fcf-4611-888c-7e5b58184a2a" providerId="ADAL" clId="{FFC930EA-DB3B-4BF8-A71B-329AD02E46CE}" dt="2022-03-14T22:25:13.244" v="287" actId="47"/>
        <pc:sldMkLst>
          <pc:docMk/>
          <pc:sldMk cId="996753462" sldId="2146846093"/>
        </pc:sldMkLst>
      </pc:sldChg>
      <pc:sldChg chg="delSp modSp mod">
        <pc:chgData name="Katerine Schifino" userId="37bb67de-9fcf-4611-888c-7e5b58184a2a" providerId="ADAL" clId="{FFC930EA-DB3B-4BF8-A71B-329AD02E46CE}" dt="2022-03-17T22:26:37.545" v="4848" actId="478"/>
        <pc:sldMkLst>
          <pc:docMk/>
          <pc:sldMk cId="2732974769" sldId="2146846094"/>
        </pc:sldMkLst>
        <pc:spChg chg="mod">
          <ac:chgData name="Katerine Schifino" userId="37bb67de-9fcf-4611-888c-7e5b58184a2a" providerId="ADAL" clId="{FFC930EA-DB3B-4BF8-A71B-329AD02E46CE}" dt="2022-03-17T22:26:36.130" v="4847" actId="20577"/>
          <ac:spMkLst>
            <pc:docMk/>
            <pc:sldMk cId="2732974769" sldId="2146846094"/>
            <ac:spMk id="5" creationId="{627EBBDC-F27E-4C02-853D-FC28E86BB1E0}"/>
          </ac:spMkLst>
        </pc:spChg>
        <pc:picChg chg="del">
          <ac:chgData name="Katerine Schifino" userId="37bb67de-9fcf-4611-888c-7e5b58184a2a" providerId="ADAL" clId="{FFC930EA-DB3B-4BF8-A71B-329AD02E46CE}" dt="2022-03-17T22:26:37.545" v="4848" actId="478"/>
          <ac:picMkLst>
            <pc:docMk/>
            <pc:sldMk cId="2732974769" sldId="2146846094"/>
            <ac:picMk id="3" creationId="{5B075F0A-992F-4149-9EF7-5E7270678893}"/>
          </ac:picMkLst>
        </pc:picChg>
      </pc:sldChg>
      <pc:sldChg chg="delSp modSp add del mod ord modNotesTx">
        <pc:chgData name="Katerine Schifino" userId="37bb67de-9fcf-4611-888c-7e5b58184a2a" providerId="ADAL" clId="{FFC930EA-DB3B-4BF8-A71B-329AD02E46CE}" dt="2022-03-16T20:59:37.508" v="1054" actId="47"/>
        <pc:sldMkLst>
          <pc:docMk/>
          <pc:sldMk cId="334504189" sldId="2146846095"/>
        </pc:sldMkLst>
        <pc:spChg chg="del">
          <ac:chgData name="Katerine Schifino" userId="37bb67de-9fcf-4611-888c-7e5b58184a2a" providerId="ADAL" clId="{FFC930EA-DB3B-4BF8-A71B-329AD02E46CE}" dt="2022-03-14T21:45:05.989" v="136" actId="478"/>
          <ac:spMkLst>
            <pc:docMk/>
            <pc:sldMk cId="334504189" sldId="2146846095"/>
            <ac:spMk id="24" creationId="{664FDE2F-D8B6-4908-BB74-F7111FE192A0}"/>
          </ac:spMkLst>
        </pc:spChg>
        <pc:spChg chg="del">
          <ac:chgData name="Katerine Schifino" userId="37bb67de-9fcf-4611-888c-7e5b58184a2a" providerId="ADAL" clId="{FFC930EA-DB3B-4BF8-A71B-329AD02E46CE}" dt="2022-03-14T21:45:05.989" v="136" actId="478"/>
          <ac:spMkLst>
            <pc:docMk/>
            <pc:sldMk cId="334504189" sldId="2146846095"/>
            <ac:spMk id="25" creationId="{7B0FF2C8-2CD1-4079-BA2F-BD45B4F81110}"/>
          </ac:spMkLst>
        </pc:spChg>
        <pc:spChg chg="mod">
          <ac:chgData name="Katerine Schifino" userId="37bb67de-9fcf-4611-888c-7e5b58184a2a" providerId="ADAL" clId="{FFC930EA-DB3B-4BF8-A71B-329AD02E46CE}" dt="2022-03-16T20:55:50.831" v="914" actId="20577"/>
          <ac:spMkLst>
            <pc:docMk/>
            <pc:sldMk cId="334504189" sldId="2146846095"/>
            <ac:spMk id="26" creationId="{AD377BC6-9D40-473F-9391-BD5E7A91EAEA}"/>
          </ac:spMkLst>
        </pc:spChg>
        <pc:spChg chg="del">
          <ac:chgData name="Katerine Schifino" userId="37bb67de-9fcf-4611-888c-7e5b58184a2a" providerId="ADAL" clId="{FFC930EA-DB3B-4BF8-A71B-329AD02E46CE}" dt="2022-03-14T21:45:05.989" v="136" actId="478"/>
          <ac:spMkLst>
            <pc:docMk/>
            <pc:sldMk cId="334504189" sldId="2146846095"/>
            <ac:spMk id="30" creationId="{D8157CB6-4DF4-43E1-8A7F-40D04CEFD42B}"/>
          </ac:spMkLst>
        </pc:spChg>
      </pc:sldChg>
      <pc:sldChg chg="modSp add del mod">
        <pc:chgData name="Katerine Schifino" userId="37bb67de-9fcf-4611-888c-7e5b58184a2a" providerId="ADAL" clId="{FFC930EA-DB3B-4BF8-A71B-329AD02E46CE}" dt="2022-03-16T20:57:35.647" v="928" actId="47"/>
        <pc:sldMkLst>
          <pc:docMk/>
          <pc:sldMk cId="2807434247" sldId="2146846096"/>
        </pc:sldMkLst>
        <pc:spChg chg="mod">
          <ac:chgData name="Katerine Schifino" userId="37bb67de-9fcf-4611-888c-7e5b58184a2a" providerId="ADAL" clId="{FFC930EA-DB3B-4BF8-A71B-329AD02E46CE}" dt="2022-03-16T20:55:19.473" v="912" actId="20577"/>
          <ac:spMkLst>
            <pc:docMk/>
            <pc:sldMk cId="2807434247" sldId="2146846096"/>
            <ac:spMk id="26" creationId="{AD377BC6-9D40-473F-9391-BD5E7A91EAEA}"/>
          </ac:spMkLst>
        </pc:spChg>
      </pc:sldChg>
      <pc:sldChg chg="modSp add del mod">
        <pc:chgData name="Katerine Schifino" userId="37bb67de-9fcf-4611-888c-7e5b58184a2a" providerId="ADAL" clId="{FFC930EA-DB3B-4BF8-A71B-329AD02E46CE}" dt="2022-03-16T21:21:04.748" v="1322" actId="47"/>
        <pc:sldMkLst>
          <pc:docMk/>
          <pc:sldMk cId="194792149" sldId="2146846097"/>
        </pc:sldMkLst>
        <pc:spChg chg="mod">
          <ac:chgData name="Katerine Schifino" userId="37bb67de-9fcf-4611-888c-7e5b58184a2a" providerId="ADAL" clId="{FFC930EA-DB3B-4BF8-A71B-329AD02E46CE}" dt="2022-03-15T22:57:13.615" v="348" actId="20577"/>
          <ac:spMkLst>
            <pc:docMk/>
            <pc:sldMk cId="194792149" sldId="2146846097"/>
            <ac:spMk id="26" creationId="{AD377BC6-9D40-473F-9391-BD5E7A91EAEA}"/>
          </ac:spMkLst>
        </pc:spChg>
      </pc:sldChg>
      <pc:sldChg chg="modSp add del mod">
        <pc:chgData name="Katerine Schifino" userId="37bb67de-9fcf-4611-888c-7e5b58184a2a" providerId="ADAL" clId="{FFC930EA-DB3B-4BF8-A71B-329AD02E46CE}" dt="2022-03-16T21:21:06.911" v="1323" actId="47"/>
        <pc:sldMkLst>
          <pc:docMk/>
          <pc:sldMk cId="3061007847" sldId="2146846098"/>
        </pc:sldMkLst>
        <pc:spChg chg="mod">
          <ac:chgData name="Katerine Schifino" userId="37bb67de-9fcf-4611-888c-7e5b58184a2a" providerId="ADAL" clId="{FFC930EA-DB3B-4BF8-A71B-329AD02E46CE}" dt="2022-03-15T22:57:54.221" v="352"/>
          <ac:spMkLst>
            <pc:docMk/>
            <pc:sldMk cId="3061007847" sldId="2146846098"/>
            <ac:spMk id="26" creationId="{AD377BC6-9D40-473F-9391-BD5E7A91EAEA}"/>
          </ac:spMkLst>
        </pc:spChg>
      </pc:sldChg>
      <pc:sldChg chg="addSp delSp modSp add mod ord modClrScheme delAnim modAnim chgLayout">
        <pc:chgData name="Katerine Schifino" userId="37bb67de-9fcf-4611-888c-7e5b58184a2a" providerId="ADAL" clId="{FFC930EA-DB3B-4BF8-A71B-329AD02E46CE}" dt="2022-03-17T17:02:01.434" v="3057"/>
        <pc:sldMkLst>
          <pc:docMk/>
          <pc:sldMk cId="2751092167" sldId="2146846099"/>
        </pc:sldMkLst>
        <pc:spChg chg="del mod ord">
          <ac:chgData name="Katerine Schifino" userId="37bb67de-9fcf-4611-888c-7e5b58184a2a" providerId="ADAL" clId="{FFC930EA-DB3B-4BF8-A71B-329AD02E46CE}" dt="2022-03-16T16:14:57.948" v="355" actId="478"/>
          <ac:spMkLst>
            <pc:docMk/>
            <pc:sldMk cId="2751092167" sldId="2146846099"/>
            <ac:spMk id="2" creationId="{C0E9A057-F805-4750-9C97-49B491EDA40C}"/>
          </ac:spMkLst>
        </pc:spChg>
        <pc:spChg chg="del mod ord">
          <ac:chgData name="Katerine Schifino" userId="37bb67de-9fcf-4611-888c-7e5b58184a2a" providerId="ADAL" clId="{FFC930EA-DB3B-4BF8-A71B-329AD02E46CE}" dt="2022-03-16T16:14:59.399" v="356" actId="478"/>
          <ac:spMkLst>
            <pc:docMk/>
            <pc:sldMk cId="2751092167" sldId="2146846099"/>
            <ac:spMk id="3" creationId="{F4A95292-C17D-4596-AC2A-D617A46EBAA8}"/>
          </ac:spMkLst>
        </pc:spChg>
        <pc:spChg chg="add mod">
          <ac:chgData name="Katerine Schifino" userId="37bb67de-9fcf-4611-888c-7e5b58184a2a" providerId="ADAL" clId="{FFC930EA-DB3B-4BF8-A71B-329AD02E46CE}" dt="2022-03-16T21:21:18.529" v="1324" actId="113"/>
          <ac:spMkLst>
            <pc:docMk/>
            <pc:sldMk cId="2751092167" sldId="2146846099"/>
            <ac:spMk id="4" creationId="{CD3B507D-B343-498F-97D5-78CBF4589AAB}"/>
          </ac:spMkLst>
        </pc:spChg>
        <pc:picChg chg="add mod">
          <ac:chgData name="Katerine Schifino" userId="37bb67de-9fcf-4611-888c-7e5b58184a2a" providerId="ADAL" clId="{FFC930EA-DB3B-4BF8-A71B-329AD02E46CE}" dt="2022-03-17T17:01:45.840" v="3056" actId="14100"/>
          <ac:picMkLst>
            <pc:docMk/>
            <pc:sldMk cId="2751092167" sldId="2146846099"/>
            <ac:picMk id="2" creationId="{EC7706F3-FA14-47B2-9618-8F36A68444B5}"/>
          </ac:picMkLst>
        </pc:picChg>
        <pc:picChg chg="add del mod">
          <ac:chgData name="Katerine Schifino" userId="37bb67de-9fcf-4611-888c-7e5b58184a2a" providerId="ADAL" clId="{FFC930EA-DB3B-4BF8-A71B-329AD02E46CE}" dt="2022-03-17T16:49:59.522" v="3053" actId="478"/>
          <ac:picMkLst>
            <pc:docMk/>
            <pc:sldMk cId="2751092167" sldId="2146846099"/>
            <ac:picMk id="5" creationId="{18D02530-5FDD-41B4-B34C-89175FB7F5E8}"/>
          </ac:picMkLst>
        </pc:picChg>
      </pc:sldChg>
      <pc:sldChg chg="add del">
        <pc:chgData name="Katerine Schifino" userId="37bb67de-9fcf-4611-888c-7e5b58184a2a" providerId="ADAL" clId="{FFC930EA-DB3B-4BF8-A71B-329AD02E46CE}" dt="2022-03-16T16:17:32.982" v="360"/>
        <pc:sldMkLst>
          <pc:docMk/>
          <pc:sldMk cId="645360049" sldId="2146846100"/>
        </pc:sldMkLst>
      </pc:sldChg>
      <pc:sldChg chg="addSp delSp modSp add mod ord addCm delCm modNotesTx">
        <pc:chgData name="Katerine Schifino" userId="37bb67de-9fcf-4611-888c-7e5b58184a2a" providerId="ADAL" clId="{FFC930EA-DB3B-4BF8-A71B-329AD02E46CE}" dt="2022-03-18T13:36:46.235" v="5262" actId="20577"/>
        <pc:sldMkLst>
          <pc:docMk/>
          <pc:sldMk cId="2262069821" sldId="2146846100"/>
        </pc:sldMkLst>
        <pc:spChg chg="mod">
          <ac:chgData name="Katerine Schifino" userId="37bb67de-9fcf-4611-888c-7e5b58184a2a" providerId="ADAL" clId="{FFC930EA-DB3B-4BF8-A71B-329AD02E46CE}" dt="2022-03-16T20:16:35.942" v="572"/>
          <ac:spMkLst>
            <pc:docMk/>
            <pc:sldMk cId="2262069821" sldId="2146846100"/>
            <ac:spMk id="3" creationId="{D27D7BD4-79A4-4F74-AEDD-B6DF3D38FA7F}"/>
          </ac:spMkLst>
        </pc:spChg>
        <pc:spChg chg="add mod">
          <ac:chgData name="Katerine Schifino" userId="37bb67de-9fcf-4611-888c-7e5b58184a2a" providerId="ADAL" clId="{FFC930EA-DB3B-4BF8-A71B-329AD02E46CE}" dt="2022-03-18T13:21:53.255" v="4891" actId="207"/>
          <ac:spMkLst>
            <pc:docMk/>
            <pc:sldMk cId="2262069821" sldId="2146846100"/>
            <ac:spMk id="5" creationId="{799AEABB-32F1-4492-ABE6-3E106E62886E}"/>
          </ac:spMkLst>
        </pc:spChg>
        <pc:spChg chg="add mod">
          <ac:chgData name="Katerine Schifino" userId="37bb67de-9fcf-4611-888c-7e5b58184a2a" providerId="ADAL" clId="{FFC930EA-DB3B-4BF8-A71B-329AD02E46CE}" dt="2022-03-18T13:22:35.534" v="4911" actId="20577"/>
          <ac:spMkLst>
            <pc:docMk/>
            <pc:sldMk cId="2262069821" sldId="2146846100"/>
            <ac:spMk id="7" creationId="{ABB2D93D-2B36-4D95-AE4D-9FF6C87F4FDA}"/>
          </ac:spMkLst>
        </pc:spChg>
        <pc:spChg chg="del mod">
          <ac:chgData name="Katerine Schifino" userId="37bb67de-9fcf-4611-888c-7e5b58184a2a" providerId="ADAL" clId="{FFC930EA-DB3B-4BF8-A71B-329AD02E46CE}" dt="2022-03-16T20:16:37.677" v="573" actId="478"/>
          <ac:spMkLst>
            <pc:docMk/>
            <pc:sldMk cId="2262069821" sldId="2146846100"/>
            <ac:spMk id="26" creationId="{AD377BC6-9D40-473F-9391-BD5E7A91EAEA}"/>
          </ac:spMkLst>
        </pc:spChg>
        <pc:grpChg chg="add mod">
          <ac:chgData name="Katerine Schifino" userId="37bb67de-9fcf-4611-888c-7e5b58184a2a" providerId="ADAL" clId="{FFC930EA-DB3B-4BF8-A71B-329AD02E46CE}" dt="2022-03-16T20:51:49.018" v="843" actId="164"/>
          <ac:grpSpMkLst>
            <pc:docMk/>
            <pc:sldMk cId="2262069821" sldId="2146846100"/>
            <ac:grpSpMk id="9" creationId="{F4B990C9-FA05-4E81-9022-7A394B7C760E}"/>
          </ac:grpSpMkLst>
        </pc:grpChg>
        <pc:picChg chg="add mod">
          <ac:chgData name="Katerine Schifino" userId="37bb67de-9fcf-4611-888c-7e5b58184a2a" providerId="ADAL" clId="{FFC930EA-DB3B-4BF8-A71B-329AD02E46CE}" dt="2022-03-16T20:45:23.384" v="785"/>
          <ac:picMkLst>
            <pc:docMk/>
            <pc:sldMk cId="2262069821" sldId="2146846100"/>
            <ac:picMk id="2050" creationId="{67143078-4EE3-42E7-A854-CB904047C185}"/>
          </ac:picMkLst>
        </pc:picChg>
        <pc:picChg chg="add mod">
          <ac:chgData name="Katerine Schifino" userId="37bb67de-9fcf-4611-888c-7e5b58184a2a" providerId="ADAL" clId="{FFC930EA-DB3B-4BF8-A71B-329AD02E46CE}" dt="2022-03-16T20:51:49.018" v="843" actId="164"/>
          <ac:picMkLst>
            <pc:docMk/>
            <pc:sldMk cId="2262069821" sldId="2146846100"/>
            <ac:picMk id="2052" creationId="{4FF18570-A68E-4016-A866-CF6A7F555082}"/>
          </ac:picMkLst>
        </pc:picChg>
        <pc:cxnChg chg="add mod">
          <ac:chgData name="Katerine Schifino" userId="37bb67de-9fcf-4611-888c-7e5b58184a2a" providerId="ADAL" clId="{FFC930EA-DB3B-4BF8-A71B-329AD02E46CE}" dt="2022-03-16T20:52:03.367" v="845" actId="208"/>
          <ac:cxnSpMkLst>
            <pc:docMk/>
            <pc:sldMk cId="2262069821" sldId="2146846100"/>
            <ac:cxnSpMk id="8" creationId="{84D43EAF-B4BE-400D-9785-71292FDFFC48}"/>
          </ac:cxnSpMkLst>
        </pc:cxnChg>
      </pc:sldChg>
      <pc:sldChg chg="addSp delSp modSp add mod ord modNotesTx">
        <pc:chgData name="Katerine Schifino" userId="37bb67de-9fcf-4611-888c-7e5b58184a2a" providerId="ADAL" clId="{FFC930EA-DB3B-4BF8-A71B-329AD02E46CE}" dt="2022-03-18T13:35:54.528" v="5260" actId="20577"/>
        <pc:sldMkLst>
          <pc:docMk/>
          <pc:sldMk cId="4050850619" sldId="2146846101"/>
        </pc:sldMkLst>
        <pc:spChg chg="add mod">
          <ac:chgData name="Katerine Schifino" userId="37bb67de-9fcf-4611-888c-7e5b58184a2a" providerId="ADAL" clId="{FFC930EA-DB3B-4BF8-A71B-329AD02E46CE}" dt="2022-03-17T17:53:36.438" v="3212" actId="164"/>
          <ac:spMkLst>
            <pc:docMk/>
            <pc:sldMk cId="4050850619" sldId="2146846101"/>
            <ac:spMk id="2" creationId="{3B49E5B8-19E9-4422-A267-22E191D3C958}"/>
          </ac:spMkLst>
        </pc:spChg>
        <pc:spChg chg="del">
          <ac:chgData name="Katerine Schifino" userId="37bb67de-9fcf-4611-888c-7e5b58184a2a" providerId="ADAL" clId="{FFC930EA-DB3B-4BF8-A71B-329AD02E46CE}" dt="2022-03-18T13:31:39.570" v="5079" actId="478"/>
          <ac:spMkLst>
            <pc:docMk/>
            <pc:sldMk cId="4050850619" sldId="2146846101"/>
            <ac:spMk id="3" creationId="{D27D7BD4-79A4-4F74-AEDD-B6DF3D38FA7F}"/>
          </ac:spMkLst>
        </pc:spChg>
        <pc:spChg chg="del mod">
          <ac:chgData name="Katerine Schifino" userId="37bb67de-9fcf-4611-888c-7e5b58184a2a" providerId="ADAL" clId="{FFC930EA-DB3B-4BF8-A71B-329AD02E46CE}" dt="2022-03-17T16:02:09.621" v="2697" actId="21"/>
          <ac:spMkLst>
            <pc:docMk/>
            <pc:sldMk cId="4050850619" sldId="2146846101"/>
            <ac:spMk id="5" creationId="{799AEABB-32F1-4492-ABE6-3E106E62886E}"/>
          </ac:spMkLst>
        </pc:spChg>
        <pc:spChg chg="del mod">
          <ac:chgData name="Katerine Schifino" userId="37bb67de-9fcf-4611-888c-7e5b58184a2a" providerId="ADAL" clId="{FFC930EA-DB3B-4BF8-A71B-329AD02E46CE}" dt="2022-03-17T14:25:04.472" v="2547" actId="478"/>
          <ac:spMkLst>
            <pc:docMk/>
            <pc:sldMk cId="4050850619" sldId="2146846101"/>
            <ac:spMk id="7" creationId="{ABB2D93D-2B36-4D95-AE4D-9FF6C87F4FDA}"/>
          </ac:spMkLst>
        </pc:spChg>
        <pc:spChg chg="add mod">
          <ac:chgData name="Katerine Schifino" userId="37bb67de-9fcf-4611-888c-7e5b58184a2a" providerId="ADAL" clId="{FFC930EA-DB3B-4BF8-A71B-329AD02E46CE}" dt="2022-03-17T18:04:20.446" v="3261" actId="20577"/>
          <ac:spMkLst>
            <pc:docMk/>
            <pc:sldMk cId="4050850619" sldId="2146846101"/>
            <ac:spMk id="10" creationId="{E301DE2B-CFA0-4AA7-BF58-C8525D30A501}"/>
          </ac:spMkLst>
        </pc:spChg>
        <pc:spChg chg="add del mod">
          <ac:chgData name="Katerine Schifino" userId="37bb67de-9fcf-4611-888c-7e5b58184a2a" providerId="ADAL" clId="{FFC930EA-DB3B-4BF8-A71B-329AD02E46CE}" dt="2022-03-18T13:32:02.353" v="5100" actId="478"/>
          <ac:spMkLst>
            <pc:docMk/>
            <pc:sldMk cId="4050850619" sldId="2146846101"/>
            <ac:spMk id="11" creationId="{FA0D5CC2-329A-400E-AC33-FD815153BEAC}"/>
          </ac:spMkLst>
        </pc:spChg>
        <pc:spChg chg="add mod">
          <ac:chgData name="Katerine Schifino" userId="37bb67de-9fcf-4611-888c-7e5b58184a2a" providerId="ADAL" clId="{FFC930EA-DB3B-4BF8-A71B-329AD02E46CE}" dt="2022-03-18T13:23:31.121" v="4956" actId="20577"/>
          <ac:spMkLst>
            <pc:docMk/>
            <pc:sldMk cId="4050850619" sldId="2146846101"/>
            <ac:spMk id="12" creationId="{A7B3DCC7-A365-463C-87BC-C3DC0D51DA37}"/>
          </ac:spMkLst>
        </pc:spChg>
        <pc:spChg chg="add mod">
          <ac:chgData name="Katerine Schifino" userId="37bb67de-9fcf-4611-888c-7e5b58184a2a" providerId="ADAL" clId="{FFC930EA-DB3B-4BF8-A71B-329AD02E46CE}" dt="2022-03-18T13:32:02.683" v="5101"/>
          <ac:spMkLst>
            <pc:docMk/>
            <pc:sldMk cId="4050850619" sldId="2146846101"/>
            <ac:spMk id="13" creationId="{78CBDB71-A7B1-4B32-B5AB-2CDD43BCC9B8}"/>
          </ac:spMkLst>
        </pc:spChg>
        <pc:spChg chg="add mod">
          <ac:chgData name="Katerine Schifino" userId="37bb67de-9fcf-4611-888c-7e5b58184a2a" providerId="ADAL" clId="{FFC930EA-DB3B-4BF8-A71B-329AD02E46CE}" dt="2022-03-17T20:13:19.370" v="4656" actId="14100"/>
          <ac:spMkLst>
            <pc:docMk/>
            <pc:sldMk cId="4050850619" sldId="2146846101"/>
            <ac:spMk id="14" creationId="{2B09DDE2-EDBD-4560-ABD8-E958800C1507}"/>
          </ac:spMkLst>
        </pc:spChg>
        <pc:spChg chg="add mod">
          <ac:chgData name="Katerine Schifino" userId="37bb67de-9fcf-4611-888c-7e5b58184a2a" providerId="ADAL" clId="{FFC930EA-DB3B-4BF8-A71B-329AD02E46CE}" dt="2022-03-17T20:13:14.664" v="4655" actId="20577"/>
          <ac:spMkLst>
            <pc:docMk/>
            <pc:sldMk cId="4050850619" sldId="2146846101"/>
            <ac:spMk id="16" creationId="{9096FC7C-1A83-48BF-8A2F-0A8B74697F48}"/>
          </ac:spMkLst>
        </pc:spChg>
        <pc:spChg chg="add del">
          <ac:chgData name="Katerine Schifino" userId="37bb67de-9fcf-4611-888c-7e5b58184a2a" providerId="ADAL" clId="{FFC930EA-DB3B-4BF8-A71B-329AD02E46CE}" dt="2022-03-17T22:07:30.629" v="4687" actId="478"/>
          <ac:spMkLst>
            <pc:docMk/>
            <pc:sldMk cId="4050850619" sldId="2146846101"/>
            <ac:spMk id="23" creationId="{3E3AA026-E6FD-47DA-896B-B5B391EF8C22}"/>
          </ac:spMkLst>
        </pc:spChg>
        <pc:grpChg chg="add mod">
          <ac:chgData name="Katerine Schifino" userId="37bb67de-9fcf-4611-888c-7e5b58184a2a" providerId="ADAL" clId="{FFC930EA-DB3B-4BF8-A71B-329AD02E46CE}" dt="2022-03-17T17:53:40.731" v="3213" actId="1076"/>
          <ac:grpSpMkLst>
            <pc:docMk/>
            <pc:sldMk cId="4050850619" sldId="2146846101"/>
            <ac:grpSpMk id="19" creationId="{A937DFF5-06AD-45D2-B3C2-E7E46519FF6B}"/>
          </ac:grpSpMkLst>
        </pc:grpChg>
        <pc:picChg chg="add mod">
          <ac:chgData name="Katerine Schifino" userId="37bb67de-9fcf-4611-888c-7e5b58184a2a" providerId="ADAL" clId="{FFC930EA-DB3B-4BF8-A71B-329AD02E46CE}" dt="2022-03-17T17:53:36.438" v="3212" actId="164"/>
          <ac:picMkLst>
            <pc:docMk/>
            <pc:sldMk cId="4050850619" sldId="2146846101"/>
            <ac:picMk id="6" creationId="{1F192696-CBE5-4697-9C12-6894D9A72BD9}"/>
          </ac:picMkLst>
        </pc:picChg>
        <pc:picChg chg="add del mod">
          <ac:chgData name="Katerine Schifino" userId="37bb67de-9fcf-4611-888c-7e5b58184a2a" providerId="ADAL" clId="{FFC930EA-DB3B-4BF8-A71B-329AD02E46CE}" dt="2022-03-17T16:02:09.621" v="2697" actId="21"/>
          <ac:picMkLst>
            <pc:docMk/>
            <pc:sldMk cId="4050850619" sldId="2146846101"/>
            <ac:picMk id="1026" creationId="{B71A90AF-5868-414C-A165-A6032D01C356}"/>
          </ac:picMkLst>
        </pc:picChg>
        <pc:picChg chg="add del mod">
          <ac:chgData name="Katerine Schifino" userId="37bb67de-9fcf-4611-888c-7e5b58184a2a" providerId="ADAL" clId="{FFC930EA-DB3B-4BF8-A71B-329AD02E46CE}" dt="2022-03-17T14:25:06.403" v="2548" actId="478"/>
          <ac:picMkLst>
            <pc:docMk/>
            <pc:sldMk cId="4050850619" sldId="2146846101"/>
            <ac:picMk id="1028" creationId="{5A045692-8076-4E9E-8D43-65EB34294448}"/>
          </ac:picMkLst>
        </pc:picChg>
        <pc:cxnChg chg="add mod">
          <ac:chgData name="Katerine Schifino" userId="37bb67de-9fcf-4611-888c-7e5b58184a2a" providerId="ADAL" clId="{FFC930EA-DB3B-4BF8-A71B-329AD02E46CE}" dt="2022-03-17T18:12:17.676" v="3363" actId="1076"/>
          <ac:cxnSpMkLst>
            <pc:docMk/>
            <pc:sldMk cId="4050850619" sldId="2146846101"/>
            <ac:cxnSpMk id="15" creationId="{655B89E9-81B0-4E6F-963E-5AD968833B55}"/>
          </ac:cxnSpMkLst>
        </pc:cxnChg>
      </pc:sldChg>
      <pc:sldChg chg="addSp delSp modSp add mod ord delAnim">
        <pc:chgData name="Katerine Schifino" userId="37bb67de-9fcf-4611-888c-7e5b58184a2a" providerId="ADAL" clId="{FFC930EA-DB3B-4BF8-A71B-329AD02E46CE}" dt="2022-03-17T22:26:25.243" v="4836" actId="1076"/>
        <pc:sldMkLst>
          <pc:docMk/>
          <pc:sldMk cId="1615697151" sldId="2146846102"/>
        </pc:sldMkLst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2" creationId="{1FFC47E6-6142-42F4-A84B-9EB7F01EC7F8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3" creationId="{728DAC43-DF66-439F-B980-9148E08CD435}"/>
          </ac:spMkLst>
        </pc:spChg>
        <pc:spChg chg="add mod">
          <ac:chgData name="Katerine Schifino" userId="37bb67de-9fcf-4611-888c-7e5b58184a2a" providerId="ADAL" clId="{FFC930EA-DB3B-4BF8-A71B-329AD02E46CE}" dt="2022-03-17T18:37:55.759" v="3887" actId="2711"/>
          <ac:spMkLst>
            <pc:docMk/>
            <pc:sldMk cId="1615697151" sldId="2146846102"/>
            <ac:spMk id="6" creationId="{112348B3-0062-49E3-BCA2-B30B6A7D3857}"/>
          </ac:spMkLst>
        </pc:spChg>
        <pc:spChg chg="add mod">
          <ac:chgData name="Katerine Schifino" userId="37bb67de-9fcf-4611-888c-7e5b58184a2a" providerId="ADAL" clId="{FFC930EA-DB3B-4BF8-A71B-329AD02E46CE}" dt="2022-03-17T22:26:25.243" v="4836" actId="1076"/>
          <ac:spMkLst>
            <pc:docMk/>
            <pc:sldMk cId="1615697151" sldId="2146846102"/>
            <ac:spMk id="7" creationId="{37CC03A6-0B85-4EAC-B972-89EF2EF0C703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8" creationId="{372BC2AC-F0DF-4172-86E3-22305243C5D4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9" creationId="{E5B2C4F1-2632-42E6-AD28-059CE5FED87B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10" creationId="{712775FA-3688-46B2-AE46-048AB42C79FE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11" creationId="{7EC1BECD-8FBE-412D-9D58-EA56AF0615F7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12" creationId="{287C8A8E-1F46-437F-895D-F3AC935A948D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13" creationId="{A28EC788-AA71-48ED-82D5-C107D2143145}"/>
          </ac:spMkLst>
        </pc:spChg>
        <pc:spChg chg="add mod">
          <ac:chgData name="Katerine Schifino" userId="37bb67de-9fcf-4611-888c-7e5b58184a2a" providerId="ADAL" clId="{FFC930EA-DB3B-4BF8-A71B-329AD02E46CE}" dt="2022-03-17T18:36:27.476" v="3885" actId="164"/>
          <ac:spMkLst>
            <pc:docMk/>
            <pc:sldMk cId="1615697151" sldId="2146846102"/>
            <ac:spMk id="14" creationId="{09F19AA4-CB6D-46F3-9701-874E551AB14C}"/>
          </ac:spMkLst>
        </pc:spChg>
        <pc:spChg chg="add mod">
          <ac:chgData name="Katerine Schifino" userId="37bb67de-9fcf-4611-888c-7e5b58184a2a" providerId="ADAL" clId="{FFC930EA-DB3B-4BF8-A71B-329AD02E46CE}" dt="2022-03-17T20:43:25.807" v="4670" actId="207"/>
          <ac:spMkLst>
            <pc:docMk/>
            <pc:sldMk cId="1615697151" sldId="2146846102"/>
            <ac:spMk id="16" creationId="{EC62EFA7-10ED-4D9C-A2C9-CF2A274A633C}"/>
          </ac:spMkLst>
        </pc:spChg>
        <pc:grpChg chg="add mod">
          <ac:chgData name="Katerine Schifino" userId="37bb67de-9fcf-4611-888c-7e5b58184a2a" providerId="ADAL" clId="{FFC930EA-DB3B-4BF8-A71B-329AD02E46CE}" dt="2022-03-17T18:36:27.476" v="3885" actId="164"/>
          <ac:grpSpMkLst>
            <pc:docMk/>
            <pc:sldMk cId="1615697151" sldId="2146846102"/>
            <ac:grpSpMk id="5" creationId="{BDD21CFA-4114-460D-B03D-F89EF64516C2}"/>
          </ac:grpSpMkLst>
        </pc:grpChg>
        <pc:picChg chg="del">
          <ac:chgData name="Katerine Schifino" userId="37bb67de-9fcf-4611-888c-7e5b58184a2a" providerId="ADAL" clId="{FFC930EA-DB3B-4BF8-A71B-329AD02E46CE}" dt="2022-03-16T21:55:39.012" v="1346" actId="478"/>
          <ac:picMkLst>
            <pc:docMk/>
            <pc:sldMk cId="1615697151" sldId="2146846102"/>
            <ac:picMk id="5" creationId="{18D02530-5FDD-41B4-B34C-89175FB7F5E8}"/>
          </ac:picMkLst>
        </pc:picChg>
        <pc:picChg chg="add mod">
          <ac:chgData name="Katerine Schifino" userId="37bb67de-9fcf-4611-888c-7e5b58184a2a" providerId="ADAL" clId="{FFC930EA-DB3B-4BF8-A71B-329AD02E46CE}" dt="2022-03-17T18:36:27.476" v="3885" actId="164"/>
          <ac:picMkLst>
            <pc:docMk/>
            <pc:sldMk cId="1615697151" sldId="2146846102"/>
            <ac:picMk id="3074" creationId="{CE9C3E79-35DF-44DE-82E7-091CCCF2D4B7}"/>
          </ac:picMkLst>
        </pc:picChg>
      </pc:sldChg>
      <pc:sldChg chg="addSp delSp modSp add mod modNotesTx">
        <pc:chgData name="Katerine Schifino" userId="37bb67de-9fcf-4611-888c-7e5b58184a2a" providerId="ADAL" clId="{FFC930EA-DB3B-4BF8-A71B-329AD02E46CE}" dt="2022-03-18T13:56:28.432" v="5681" actId="1076"/>
        <pc:sldMkLst>
          <pc:docMk/>
          <pc:sldMk cId="2320250215" sldId="2146846103"/>
        </pc:sldMkLst>
        <pc:spChg chg="mod">
          <ac:chgData name="Katerine Schifino" userId="37bb67de-9fcf-4611-888c-7e5b58184a2a" providerId="ADAL" clId="{FFC930EA-DB3B-4BF8-A71B-329AD02E46CE}" dt="2022-03-18T13:47:35.556" v="5329" actId="20577"/>
          <ac:spMkLst>
            <pc:docMk/>
            <pc:sldMk cId="2320250215" sldId="2146846103"/>
            <ac:spMk id="4" creationId="{CD3B507D-B343-498F-97D5-78CBF4589AAB}"/>
          </ac:spMkLst>
        </pc:spChg>
        <pc:spChg chg="del mod ord">
          <ac:chgData name="Katerine Schifino" userId="37bb67de-9fcf-4611-888c-7e5b58184a2a" providerId="ADAL" clId="{FFC930EA-DB3B-4BF8-A71B-329AD02E46CE}" dt="2022-03-18T13:46:52.984" v="5275" actId="478"/>
          <ac:spMkLst>
            <pc:docMk/>
            <pc:sldMk cId="2320250215" sldId="2146846103"/>
            <ac:spMk id="6" creationId="{112348B3-0062-49E3-BCA2-B30B6A7D3857}"/>
          </ac:spMkLst>
        </pc:spChg>
        <pc:spChg chg="add mod">
          <ac:chgData name="Katerine Schifino" userId="37bb67de-9fcf-4611-888c-7e5b58184a2a" providerId="ADAL" clId="{FFC930EA-DB3B-4BF8-A71B-329AD02E46CE}" dt="2022-03-18T13:56:25.214" v="5680" actId="1076"/>
          <ac:spMkLst>
            <pc:docMk/>
            <pc:sldMk cId="2320250215" sldId="2146846103"/>
            <ac:spMk id="7" creationId="{2C5F50B8-5FDA-4643-AD93-28CE2F01E240}"/>
          </ac:spMkLst>
        </pc:spChg>
        <pc:picChg chg="add del mod">
          <ac:chgData name="Katerine Schifino" userId="37bb67de-9fcf-4611-888c-7e5b58184a2a" providerId="ADAL" clId="{FFC930EA-DB3B-4BF8-A71B-329AD02E46CE}" dt="2022-03-18T13:53:30.201" v="5634" actId="478"/>
          <ac:picMkLst>
            <pc:docMk/>
            <pc:sldMk cId="2320250215" sldId="2146846103"/>
            <ac:picMk id="5" creationId="{446A2391-07E2-420A-9DF8-E8B89E96EB3F}"/>
          </ac:picMkLst>
        </pc:picChg>
        <pc:picChg chg="add mod">
          <ac:chgData name="Katerine Schifino" userId="37bb67de-9fcf-4611-888c-7e5b58184a2a" providerId="ADAL" clId="{FFC930EA-DB3B-4BF8-A71B-329AD02E46CE}" dt="2022-03-18T13:54:09.061" v="5659" actId="1076"/>
          <ac:picMkLst>
            <pc:docMk/>
            <pc:sldMk cId="2320250215" sldId="2146846103"/>
            <ac:picMk id="9" creationId="{A2ECEB14-6EB2-42FD-A25C-5DD6B3BF12AA}"/>
          </ac:picMkLst>
        </pc:picChg>
        <pc:picChg chg="add mod">
          <ac:chgData name="Katerine Schifino" userId="37bb67de-9fcf-4611-888c-7e5b58184a2a" providerId="ADAL" clId="{FFC930EA-DB3B-4BF8-A71B-329AD02E46CE}" dt="2022-03-18T13:56:28.432" v="5681" actId="1076"/>
          <ac:picMkLst>
            <pc:docMk/>
            <pc:sldMk cId="2320250215" sldId="2146846103"/>
            <ac:picMk id="11" creationId="{C8C4C750-D0D6-4F9F-A924-CDAE8BF608A7}"/>
          </ac:picMkLst>
        </pc:picChg>
        <pc:picChg chg="add mod">
          <ac:chgData name="Katerine Schifino" userId="37bb67de-9fcf-4611-888c-7e5b58184a2a" providerId="ADAL" clId="{FFC930EA-DB3B-4BF8-A71B-329AD02E46CE}" dt="2022-03-18T13:54:05.012" v="5658" actId="1076"/>
          <ac:picMkLst>
            <pc:docMk/>
            <pc:sldMk cId="2320250215" sldId="2146846103"/>
            <ac:picMk id="13" creationId="{A0A22312-1DE6-4FA2-8D7F-F183C26B108A}"/>
          </ac:picMkLst>
        </pc:picChg>
        <pc:picChg chg="add mod">
          <ac:chgData name="Katerine Schifino" userId="37bb67de-9fcf-4611-888c-7e5b58184a2a" providerId="ADAL" clId="{FFC930EA-DB3B-4BF8-A71B-329AD02E46CE}" dt="2022-03-18T13:54:03.013" v="5657" actId="1076"/>
          <ac:picMkLst>
            <pc:docMk/>
            <pc:sldMk cId="2320250215" sldId="2146846103"/>
            <ac:picMk id="15" creationId="{87BCC9D9-7600-4C70-A943-7511727CF468}"/>
          </ac:picMkLst>
        </pc:picChg>
        <pc:picChg chg="del">
          <ac:chgData name="Katerine Schifino" userId="37bb67de-9fcf-4611-888c-7e5b58184a2a" providerId="ADAL" clId="{FFC930EA-DB3B-4BF8-A71B-329AD02E46CE}" dt="2022-03-16T22:04:54.049" v="1364" actId="478"/>
          <ac:picMkLst>
            <pc:docMk/>
            <pc:sldMk cId="2320250215" sldId="2146846103"/>
            <ac:picMk id="3074" creationId="{CE9C3E79-35DF-44DE-82E7-091CCCF2D4B7}"/>
          </ac:picMkLst>
        </pc:picChg>
        <pc:picChg chg="add del mod">
          <ac:chgData name="Katerine Schifino" userId="37bb67de-9fcf-4611-888c-7e5b58184a2a" providerId="ADAL" clId="{FFC930EA-DB3B-4BF8-A71B-329AD02E46CE}" dt="2022-03-16T22:47:17.248" v="2533" actId="478"/>
          <ac:picMkLst>
            <pc:docMk/>
            <pc:sldMk cId="2320250215" sldId="2146846103"/>
            <ac:picMk id="5122" creationId="{DA7A4B3D-0D5D-484C-8D9D-752655F5453F}"/>
          </ac:picMkLst>
        </pc:picChg>
        <pc:picChg chg="add del mod">
          <ac:chgData name="Katerine Schifino" userId="37bb67de-9fcf-4611-888c-7e5b58184a2a" providerId="ADAL" clId="{FFC930EA-DB3B-4BF8-A71B-329AD02E46CE}" dt="2022-03-18T13:46:52.984" v="5275" actId="478"/>
          <ac:picMkLst>
            <pc:docMk/>
            <pc:sldMk cId="2320250215" sldId="2146846103"/>
            <ac:picMk id="5124" creationId="{3AF1774A-4826-4DB3-A8CA-AAEA509EEBC6}"/>
          </ac:picMkLst>
        </pc:picChg>
      </pc:sldChg>
      <pc:sldChg chg="addSp delSp modSp add del mod">
        <pc:chgData name="Katerine Schifino" userId="37bb67de-9fcf-4611-888c-7e5b58184a2a" providerId="ADAL" clId="{FFC930EA-DB3B-4BF8-A71B-329AD02E46CE}" dt="2022-03-18T21:11:28.899" v="7449" actId="47"/>
        <pc:sldMkLst>
          <pc:docMk/>
          <pc:sldMk cId="2367529978" sldId="2146846104"/>
        </pc:sldMkLst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2" creationId="{AD32C72C-1F96-4DFD-ADD8-EB98012F7829}"/>
          </ac:spMkLst>
        </pc:spChg>
        <pc:spChg chg="add mod">
          <ac:chgData name="Katerine Schifino" userId="37bb67de-9fcf-4611-888c-7e5b58184a2a" providerId="ADAL" clId="{FFC930EA-DB3B-4BF8-A71B-329AD02E46CE}" dt="2022-03-17T19:02:28.171" v="4123" actId="1076"/>
          <ac:spMkLst>
            <pc:docMk/>
            <pc:sldMk cId="2367529978" sldId="2146846104"/>
            <ac:spMk id="3" creationId="{F37952A8-26A7-4620-BB6E-749B2F7FE437}"/>
          </ac:spMkLst>
        </pc:spChg>
        <pc:spChg chg="mod">
          <ac:chgData name="Katerine Schifino" userId="37bb67de-9fcf-4611-888c-7e5b58184a2a" providerId="ADAL" clId="{FFC930EA-DB3B-4BF8-A71B-329AD02E46CE}" dt="2022-03-17T22:26:55.781" v="4861" actId="20577"/>
          <ac:spMkLst>
            <pc:docMk/>
            <pc:sldMk cId="2367529978" sldId="2146846104"/>
            <ac:spMk id="4" creationId="{CD3B507D-B343-498F-97D5-78CBF4589AAB}"/>
          </ac:spMkLst>
        </pc:spChg>
        <pc:spChg chg="del">
          <ac:chgData name="Katerine Schifino" userId="37bb67de-9fcf-4611-888c-7e5b58184a2a" providerId="ADAL" clId="{FFC930EA-DB3B-4BF8-A71B-329AD02E46CE}" dt="2022-03-16T22:14:21.648" v="1746" actId="478"/>
          <ac:spMkLst>
            <pc:docMk/>
            <pc:sldMk cId="2367529978" sldId="2146846104"/>
            <ac:spMk id="6" creationId="{112348B3-0062-49E3-BCA2-B30B6A7D3857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7" creationId="{FA6EFE21-4F3A-45B5-ABF0-093745D6274C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8" creationId="{F03B8265-C3FC-49AD-B22E-50F543F8AA49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9" creationId="{9A1983EF-D4FF-46B1-8440-DF33A25B17E4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10" creationId="{87810E87-F3A4-403D-9665-3B3290A9623E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11" creationId="{2D70ED3A-26F9-4DA8-83EB-F7904304F66B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12" creationId="{8F9F3F36-EB7E-435E-8B73-D6819A0E0E16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13" creationId="{76396A78-CA3F-4CB5-B0C1-0088D495A014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17" creationId="{2C52C0E2-7615-47CE-9329-55869F51964D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18" creationId="{0688AE72-9DCC-4D78-AD8E-FC32C6BE67FF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19" creationId="{2B3082CB-7F63-49CF-9FB3-111A055648DD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20" creationId="{8160494A-B5A6-4F23-827C-054E6D44097C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21" creationId="{6091546B-A0F7-4E1D-B868-656797AE017A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22" creationId="{F8F8F633-3053-46E3-A104-33F46481EC99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23" creationId="{F54CC053-6EF7-4F0A-AD79-3D85E55AFAD9}"/>
          </ac:spMkLst>
        </pc:spChg>
        <pc:spChg chg="add del mod">
          <ac:chgData name="Katerine Schifino" userId="37bb67de-9fcf-4611-888c-7e5b58184a2a" providerId="ADAL" clId="{FFC930EA-DB3B-4BF8-A71B-329AD02E46CE}" dt="2022-03-16T22:31:20.810" v="2332" actId="478"/>
          <ac:spMkLst>
            <pc:docMk/>
            <pc:sldMk cId="2367529978" sldId="2146846104"/>
            <ac:spMk id="24" creationId="{6D48883A-4494-4E58-8D95-E6E03A0E1201}"/>
          </ac:spMkLst>
        </pc:spChg>
        <pc:spChg chg="add del mod">
          <ac:chgData name="Katerine Schifino" userId="37bb67de-9fcf-4611-888c-7e5b58184a2a" providerId="ADAL" clId="{FFC930EA-DB3B-4BF8-A71B-329AD02E46CE}" dt="2022-03-16T22:31:20.810" v="2332" actId="478"/>
          <ac:spMkLst>
            <pc:docMk/>
            <pc:sldMk cId="2367529978" sldId="2146846104"/>
            <ac:spMk id="25" creationId="{9C4E7890-E274-4342-9C83-02B5A38F350A}"/>
          </ac:spMkLst>
        </pc:spChg>
        <pc:spChg chg="add del mod">
          <ac:chgData name="Katerine Schifino" userId="37bb67de-9fcf-4611-888c-7e5b58184a2a" providerId="ADAL" clId="{FFC930EA-DB3B-4BF8-A71B-329AD02E46CE}" dt="2022-03-16T22:31:20.810" v="2332" actId="478"/>
          <ac:spMkLst>
            <pc:docMk/>
            <pc:sldMk cId="2367529978" sldId="2146846104"/>
            <ac:spMk id="26" creationId="{D0FE990F-0453-4550-9293-61B134C4E928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27" creationId="{4EBC8ACD-E85E-4EA8-B8E5-FA35C71C73E3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28" creationId="{C07952BD-66B3-4A77-95CE-22E93D33FD91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29" creationId="{A462831B-1C16-457E-82F4-946F0696A2B1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30" creationId="{8FC594D8-10DE-4B6C-8DC0-EAF5997BC9E6}"/>
          </ac:spMkLst>
        </pc:spChg>
        <pc:spChg chg="add del mod">
          <ac:chgData name="Katerine Schifino" userId="37bb67de-9fcf-4611-888c-7e5b58184a2a" providerId="ADAL" clId="{FFC930EA-DB3B-4BF8-A71B-329AD02E46CE}" dt="2022-03-16T22:31:20.810" v="2332" actId="478"/>
          <ac:spMkLst>
            <pc:docMk/>
            <pc:sldMk cId="2367529978" sldId="2146846104"/>
            <ac:spMk id="31" creationId="{2EFCE22A-FF36-4093-9732-A45CE5F4EB3B}"/>
          </ac:spMkLst>
        </pc:spChg>
        <pc:spChg chg="add del mod">
          <ac:chgData name="Katerine Schifino" userId="37bb67de-9fcf-4611-888c-7e5b58184a2a" providerId="ADAL" clId="{FFC930EA-DB3B-4BF8-A71B-329AD02E46CE}" dt="2022-03-16T22:31:20.810" v="2332" actId="478"/>
          <ac:spMkLst>
            <pc:docMk/>
            <pc:sldMk cId="2367529978" sldId="2146846104"/>
            <ac:spMk id="32" creationId="{C3094ED6-6A4D-42CE-916B-B25C349332F9}"/>
          </ac:spMkLst>
        </pc:spChg>
        <pc:spChg chg="add del mod">
          <ac:chgData name="Katerine Schifino" userId="37bb67de-9fcf-4611-888c-7e5b58184a2a" providerId="ADAL" clId="{FFC930EA-DB3B-4BF8-A71B-329AD02E46CE}" dt="2022-03-16T22:31:20.810" v="2332" actId="478"/>
          <ac:spMkLst>
            <pc:docMk/>
            <pc:sldMk cId="2367529978" sldId="2146846104"/>
            <ac:spMk id="33" creationId="{866062D5-E524-43DC-890E-E828A3FED1FF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34" creationId="{06AA7B58-B860-4667-8D00-FAB025174BD1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35" creationId="{19F1937A-9D2B-4887-A458-2543EC51FB26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36" creationId="{F17FFBE8-BDDB-4F22-ABFA-9E2271E52B10}"/>
          </ac:spMkLst>
        </pc:spChg>
        <pc:spChg chg="add del mod">
          <ac:chgData name="Katerine Schifino" userId="37bb67de-9fcf-4611-888c-7e5b58184a2a" providerId="ADAL" clId="{FFC930EA-DB3B-4BF8-A71B-329AD02E46CE}" dt="2022-03-16T22:31:23.543" v="2333" actId="478"/>
          <ac:spMkLst>
            <pc:docMk/>
            <pc:sldMk cId="2367529978" sldId="2146846104"/>
            <ac:spMk id="37" creationId="{FF56ED0D-0344-4372-B2D7-7B46A9B34F3D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38" creationId="{1E939950-55B8-442A-9079-1DDA326A7D4B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39" creationId="{BBB8749C-1D72-409B-B6AF-931B6A0B45ED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0" creationId="{23DAAC81-4A3D-44E0-B37F-80D55820568E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1" creationId="{B5659BD7-1C2C-447C-AC45-8AC1F3767E48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2" creationId="{2F9652C3-5AB4-4579-81DB-F9040EEE4957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3" creationId="{8216E04F-408F-4C70-BDDE-E32240252A8D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4" creationId="{5B993871-DC36-45AD-AD77-916488C213CD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5" creationId="{06412CEB-8FA2-46AD-90B7-5E5F63F9468C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6" creationId="{5030D191-BACA-494F-8B6E-8AFD48AB9AE9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7" creationId="{B4179A8D-F4B6-445E-9808-C7E1ED35EAB3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8" creationId="{07B02A96-9255-45C9-91C9-E1979E87741B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49" creationId="{FB00FE5E-1D9D-4161-9518-B5CEF7942421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50" creationId="{2EE506AC-6F01-46A4-86EF-2CA8B79507E5}"/>
          </ac:spMkLst>
        </pc:spChg>
        <pc:spChg chg="add mod">
          <ac:chgData name="Katerine Schifino" userId="37bb67de-9fcf-4611-888c-7e5b58184a2a" providerId="ADAL" clId="{FFC930EA-DB3B-4BF8-A71B-329AD02E46CE}" dt="2022-03-16T22:42:40.569" v="2471" actId="164"/>
          <ac:spMkLst>
            <pc:docMk/>
            <pc:sldMk cId="2367529978" sldId="2146846104"/>
            <ac:spMk id="51" creationId="{1D9BBDEB-221C-4741-9979-C335EE48F38E}"/>
          </ac:spMkLst>
        </pc:spChg>
        <pc:spChg chg="add mod">
          <ac:chgData name="Katerine Schifino" userId="37bb67de-9fcf-4611-888c-7e5b58184a2a" providerId="ADAL" clId="{FFC930EA-DB3B-4BF8-A71B-329AD02E46CE}" dt="2022-03-16T22:40:37.119" v="2451" actId="1582"/>
          <ac:spMkLst>
            <pc:docMk/>
            <pc:sldMk cId="2367529978" sldId="2146846104"/>
            <ac:spMk id="53" creationId="{FC86F8BB-00FC-458C-AEE2-32F4E235C18C}"/>
          </ac:spMkLst>
        </pc:spChg>
        <pc:spChg chg="add mod ord">
          <ac:chgData name="Katerine Schifino" userId="37bb67de-9fcf-4611-888c-7e5b58184a2a" providerId="ADAL" clId="{FFC930EA-DB3B-4BF8-A71B-329AD02E46CE}" dt="2022-03-17T17:10:13.520" v="3200" actId="1076"/>
          <ac:spMkLst>
            <pc:docMk/>
            <pc:sldMk cId="2367529978" sldId="2146846104"/>
            <ac:spMk id="55" creationId="{693BE602-C9B4-412A-8447-FDCBB931768E}"/>
          </ac:spMkLst>
        </pc:spChg>
        <pc:grpChg chg="add mod">
          <ac:chgData name="Katerine Schifino" userId="37bb67de-9fcf-4611-888c-7e5b58184a2a" providerId="ADAL" clId="{FFC930EA-DB3B-4BF8-A71B-329AD02E46CE}" dt="2022-03-16T22:40:04.712" v="2445" actId="1076"/>
          <ac:grpSpMkLst>
            <pc:docMk/>
            <pc:sldMk cId="2367529978" sldId="2146846104"/>
            <ac:grpSpMk id="54" creationId="{C8CACEA6-0212-4EFD-B253-05AA389E4D94}"/>
          </ac:grpSpMkLst>
        </pc:grpChg>
        <pc:grpChg chg="add mod">
          <ac:chgData name="Katerine Schifino" userId="37bb67de-9fcf-4611-888c-7e5b58184a2a" providerId="ADAL" clId="{FFC930EA-DB3B-4BF8-A71B-329AD02E46CE}" dt="2022-03-16T22:42:40.569" v="2471" actId="164"/>
          <ac:grpSpMkLst>
            <pc:docMk/>
            <pc:sldMk cId="2367529978" sldId="2146846104"/>
            <ac:grpSpMk id="56" creationId="{28F61522-AC2E-485A-AF45-90E1FF06D661}"/>
          </ac:grpSpMkLst>
        </pc:grpChg>
        <pc:picChg chg="add mod ord">
          <ac:chgData name="Katerine Schifino" userId="37bb67de-9fcf-4611-888c-7e5b58184a2a" providerId="ADAL" clId="{FFC930EA-DB3B-4BF8-A71B-329AD02E46CE}" dt="2022-03-16T22:40:51.625" v="2453" actId="208"/>
          <ac:picMkLst>
            <pc:docMk/>
            <pc:sldMk cId="2367529978" sldId="2146846104"/>
            <ac:picMk id="52" creationId="{3484675A-C650-4B14-993E-C33B8F392B20}"/>
          </ac:picMkLst>
        </pc:picChg>
        <pc:picChg chg="add del mod">
          <ac:chgData name="Katerine Schifino" userId="37bb67de-9fcf-4611-888c-7e5b58184a2a" providerId="ADAL" clId="{FFC930EA-DB3B-4BF8-A71B-329AD02E46CE}" dt="2022-03-17T17:10:08.737" v="3198" actId="478"/>
          <ac:picMkLst>
            <pc:docMk/>
            <pc:sldMk cId="2367529978" sldId="2146846104"/>
            <ac:picMk id="4098" creationId="{9CEF2DFD-BA49-4A08-98AB-480A1BF31323}"/>
          </ac:picMkLst>
        </pc:picChg>
        <pc:cxnChg chg="add mod">
          <ac:chgData name="Katerine Schifino" userId="37bb67de-9fcf-4611-888c-7e5b58184a2a" providerId="ADAL" clId="{FFC930EA-DB3B-4BF8-A71B-329AD02E46CE}" dt="2022-03-16T22:42:40.569" v="2471" actId="164"/>
          <ac:cxnSpMkLst>
            <pc:docMk/>
            <pc:sldMk cId="2367529978" sldId="2146846104"/>
            <ac:cxnSpMk id="5" creationId="{ACEDF268-4996-47AC-95A1-EA61D6813161}"/>
          </ac:cxnSpMkLst>
        </pc:cxnChg>
        <pc:cxnChg chg="add mod">
          <ac:chgData name="Katerine Schifino" userId="37bb67de-9fcf-4611-888c-7e5b58184a2a" providerId="ADAL" clId="{FFC930EA-DB3B-4BF8-A71B-329AD02E46CE}" dt="2022-03-16T22:42:40.569" v="2471" actId="164"/>
          <ac:cxnSpMkLst>
            <pc:docMk/>
            <pc:sldMk cId="2367529978" sldId="2146846104"/>
            <ac:cxnSpMk id="15" creationId="{2B59B27D-9096-42AE-B478-2CFA7B8AD322}"/>
          </ac:cxnSpMkLst>
        </pc:cxnChg>
        <pc:cxnChg chg="add mod">
          <ac:chgData name="Katerine Schifino" userId="37bb67de-9fcf-4611-888c-7e5b58184a2a" providerId="ADAL" clId="{FFC930EA-DB3B-4BF8-A71B-329AD02E46CE}" dt="2022-03-16T22:42:40.569" v="2471" actId="164"/>
          <ac:cxnSpMkLst>
            <pc:docMk/>
            <pc:sldMk cId="2367529978" sldId="2146846104"/>
            <ac:cxnSpMk id="16" creationId="{753FC988-99A2-4060-9A3F-ABDDCB249FC2}"/>
          </ac:cxnSpMkLst>
        </pc:cxnChg>
      </pc:sldChg>
      <pc:sldChg chg="addSp delSp modSp add del mod modNotesTx">
        <pc:chgData name="Katerine Schifino" userId="37bb67de-9fcf-4611-888c-7e5b58184a2a" providerId="ADAL" clId="{FFC930EA-DB3B-4BF8-A71B-329AD02E46CE}" dt="2022-03-18T21:11:28.159" v="7448" actId="47"/>
        <pc:sldMkLst>
          <pc:docMk/>
          <pc:sldMk cId="1468592198" sldId="2146846105"/>
        </pc:sldMkLst>
        <pc:spChg chg="del">
          <ac:chgData name="Katerine Schifino" userId="37bb67de-9fcf-4611-888c-7e5b58184a2a" providerId="ADAL" clId="{FFC930EA-DB3B-4BF8-A71B-329AD02E46CE}" dt="2022-03-17T20:00:12.260" v="4558" actId="478"/>
          <ac:spMkLst>
            <pc:docMk/>
            <pc:sldMk cId="1468592198" sldId="2146846105"/>
            <ac:spMk id="4" creationId="{CD3B507D-B343-498F-97D5-78CBF4589AAB}"/>
          </ac:spMkLst>
        </pc:spChg>
        <pc:spChg chg="add mod">
          <ac:chgData name="Katerine Schifino" userId="37bb67de-9fcf-4611-888c-7e5b58184a2a" providerId="ADAL" clId="{FFC930EA-DB3B-4BF8-A71B-329AD02E46CE}" dt="2022-03-18T14:09:03.066" v="6233" actId="6549"/>
          <ac:spMkLst>
            <pc:docMk/>
            <pc:sldMk cId="1468592198" sldId="2146846105"/>
            <ac:spMk id="5" creationId="{9EDBD20C-0B84-4943-BD69-E6C88D054D63}"/>
          </ac:spMkLst>
        </pc:spChg>
        <pc:spChg chg="del mod">
          <ac:chgData name="Katerine Schifino" userId="37bb67de-9fcf-4611-888c-7e5b58184a2a" providerId="ADAL" clId="{FFC930EA-DB3B-4BF8-A71B-329AD02E46CE}" dt="2022-03-18T14:09:28.800" v="6241" actId="478"/>
          <ac:spMkLst>
            <pc:docMk/>
            <pc:sldMk cId="1468592198" sldId="2146846105"/>
            <ac:spMk id="6" creationId="{112348B3-0062-49E3-BCA2-B30B6A7D3857}"/>
          </ac:spMkLst>
        </pc:spChg>
        <pc:spChg chg="add mod">
          <ac:chgData name="Katerine Schifino" userId="37bb67de-9fcf-4611-888c-7e5b58184a2a" providerId="ADAL" clId="{FFC930EA-DB3B-4BF8-A71B-329AD02E46CE}" dt="2022-03-17T20:00:16.665" v="4559"/>
          <ac:spMkLst>
            <pc:docMk/>
            <pc:sldMk cId="1468592198" sldId="2146846105"/>
            <ac:spMk id="7" creationId="{764353E4-05DA-46BB-953D-A9B913E16425}"/>
          </ac:spMkLst>
        </pc:spChg>
        <pc:spChg chg="add mod">
          <ac:chgData name="Katerine Schifino" userId="37bb67de-9fcf-4611-888c-7e5b58184a2a" providerId="ADAL" clId="{FFC930EA-DB3B-4BF8-A71B-329AD02E46CE}" dt="2022-03-18T14:09:32.454" v="6242"/>
          <ac:spMkLst>
            <pc:docMk/>
            <pc:sldMk cId="1468592198" sldId="2146846105"/>
            <ac:spMk id="8" creationId="{3FDA7948-2F5A-4208-BA8B-40B68DC4FCE1}"/>
          </ac:spMkLst>
        </pc:spChg>
        <pc:picChg chg="add mod">
          <ac:chgData name="Katerine Schifino" userId="37bb67de-9fcf-4611-888c-7e5b58184a2a" providerId="ADAL" clId="{FFC930EA-DB3B-4BF8-A71B-329AD02E46CE}" dt="2022-03-18T14:09:05.370" v="6234" actId="1076"/>
          <ac:picMkLst>
            <pc:docMk/>
            <pc:sldMk cId="1468592198" sldId="2146846105"/>
            <ac:picMk id="1026" creationId="{60C57D08-DD19-418A-B5ED-A1A7CDF7FEBF}"/>
          </ac:picMkLst>
        </pc:picChg>
      </pc:sldChg>
      <pc:sldChg chg="delSp modSp add del mod">
        <pc:chgData name="Katerine Schifino" userId="37bb67de-9fcf-4611-888c-7e5b58184a2a" providerId="ADAL" clId="{FFC930EA-DB3B-4BF8-A71B-329AD02E46CE}" dt="2022-03-17T16:02:23.114" v="2699" actId="47"/>
        <pc:sldMkLst>
          <pc:docMk/>
          <pc:sldMk cId="3598984068" sldId="2146846106"/>
        </pc:sldMkLst>
        <pc:spChg chg="del mod">
          <ac:chgData name="Katerine Schifino" userId="37bb67de-9fcf-4611-888c-7e5b58184a2a" providerId="ADAL" clId="{FFC930EA-DB3B-4BF8-A71B-329AD02E46CE}" dt="2022-03-17T14:25:14.869" v="2551" actId="478"/>
          <ac:spMkLst>
            <pc:docMk/>
            <pc:sldMk cId="3598984068" sldId="2146846106"/>
            <ac:spMk id="5" creationId="{799AEABB-32F1-4492-ABE6-3E106E62886E}"/>
          </ac:spMkLst>
        </pc:spChg>
        <pc:spChg chg="mod">
          <ac:chgData name="Katerine Schifino" userId="37bb67de-9fcf-4611-888c-7e5b58184a2a" providerId="ADAL" clId="{FFC930EA-DB3B-4BF8-A71B-329AD02E46CE}" dt="2022-03-17T14:25:33.611" v="2600" actId="20577"/>
          <ac:spMkLst>
            <pc:docMk/>
            <pc:sldMk cId="3598984068" sldId="2146846106"/>
            <ac:spMk id="7" creationId="{ABB2D93D-2B36-4D95-AE4D-9FF6C87F4FDA}"/>
          </ac:spMkLst>
        </pc:spChg>
        <pc:picChg chg="del">
          <ac:chgData name="Katerine Schifino" userId="37bb67de-9fcf-4611-888c-7e5b58184a2a" providerId="ADAL" clId="{FFC930EA-DB3B-4BF8-A71B-329AD02E46CE}" dt="2022-03-17T14:25:11.712" v="2549" actId="478"/>
          <ac:picMkLst>
            <pc:docMk/>
            <pc:sldMk cId="3598984068" sldId="2146846106"/>
            <ac:picMk id="1026" creationId="{B71A90AF-5868-414C-A165-A6032D01C356}"/>
          </ac:picMkLst>
        </pc:picChg>
        <pc:picChg chg="mod">
          <ac:chgData name="Katerine Schifino" userId="37bb67de-9fcf-4611-888c-7e5b58184a2a" providerId="ADAL" clId="{FFC930EA-DB3B-4BF8-A71B-329AD02E46CE}" dt="2022-03-17T14:25:37.165" v="2601" actId="1076"/>
          <ac:picMkLst>
            <pc:docMk/>
            <pc:sldMk cId="3598984068" sldId="2146846106"/>
            <ac:picMk id="1028" creationId="{5A045692-8076-4E9E-8D43-65EB34294448}"/>
          </ac:picMkLst>
        </pc:picChg>
      </pc:sldChg>
      <pc:sldChg chg="addSp modSp add mod modNotesTx">
        <pc:chgData name="Katerine Schifino" userId="37bb67de-9fcf-4611-888c-7e5b58184a2a" providerId="ADAL" clId="{FFC930EA-DB3B-4BF8-A71B-329AD02E46CE}" dt="2022-03-18T13:36:50.402" v="5263" actId="20577"/>
        <pc:sldMkLst>
          <pc:docMk/>
          <pc:sldMk cId="3668654054" sldId="2146846107"/>
        </pc:sldMkLst>
        <pc:spChg chg="add mod">
          <ac:chgData name="Katerine Schifino" userId="37bb67de-9fcf-4611-888c-7e5b58184a2a" providerId="ADAL" clId="{FFC930EA-DB3B-4BF8-A71B-329AD02E46CE}" dt="2022-03-17T20:10:09.131" v="4644" actId="20577"/>
          <ac:spMkLst>
            <pc:docMk/>
            <pc:sldMk cId="3668654054" sldId="2146846107"/>
            <ac:spMk id="5" creationId="{AE35B8B5-CBDD-4C9A-902F-A9C417CE223E}"/>
          </ac:spMkLst>
        </pc:spChg>
        <pc:spChg chg="mod">
          <ac:chgData name="Katerine Schifino" userId="37bb67de-9fcf-4611-888c-7e5b58184a2a" providerId="ADAL" clId="{FFC930EA-DB3B-4BF8-A71B-329AD02E46CE}" dt="2022-03-18T13:21:42.709" v="4890" actId="20577"/>
          <ac:spMkLst>
            <pc:docMk/>
            <pc:sldMk cId="3668654054" sldId="2146846107"/>
            <ac:spMk id="7" creationId="{ABB2D93D-2B36-4D95-AE4D-9FF6C87F4FDA}"/>
          </ac:spMkLst>
        </pc:spChg>
        <pc:picChg chg="add mod">
          <ac:chgData name="Katerine Schifino" userId="37bb67de-9fcf-4611-888c-7e5b58184a2a" providerId="ADAL" clId="{FFC930EA-DB3B-4BF8-A71B-329AD02E46CE}" dt="2022-03-17T16:02:11.526" v="2698"/>
          <ac:picMkLst>
            <pc:docMk/>
            <pc:sldMk cId="3668654054" sldId="2146846107"/>
            <ac:picMk id="6" creationId="{739799F3-1ED9-4DBF-AD99-F604B451815E}"/>
          </ac:picMkLst>
        </pc:picChg>
        <pc:picChg chg="mod">
          <ac:chgData name="Katerine Schifino" userId="37bb67de-9fcf-4611-888c-7e5b58184a2a" providerId="ADAL" clId="{FFC930EA-DB3B-4BF8-A71B-329AD02E46CE}" dt="2022-03-17T16:02:03.753" v="2696" actId="1036"/>
          <ac:picMkLst>
            <pc:docMk/>
            <pc:sldMk cId="3668654054" sldId="2146846107"/>
            <ac:picMk id="1028" creationId="{5A045692-8076-4E9E-8D43-65EB34294448}"/>
          </ac:picMkLst>
        </pc:picChg>
      </pc:sldChg>
      <pc:sldChg chg="addSp delSp modSp add del mod modShow modNotesTx">
        <pc:chgData name="Katerine Schifino" userId="37bb67de-9fcf-4611-888c-7e5b58184a2a" providerId="ADAL" clId="{FFC930EA-DB3B-4BF8-A71B-329AD02E46CE}" dt="2022-03-18T21:11:24.843" v="7445" actId="47"/>
        <pc:sldMkLst>
          <pc:docMk/>
          <pc:sldMk cId="180394613" sldId="2146846108"/>
        </pc:sldMkLst>
        <pc:spChg chg="del">
          <ac:chgData name="Katerine Schifino" userId="37bb67de-9fcf-4611-888c-7e5b58184a2a" providerId="ADAL" clId="{FFC930EA-DB3B-4BF8-A71B-329AD02E46CE}" dt="2022-03-17T19:29:16.453" v="4127" actId="478"/>
          <ac:spMkLst>
            <pc:docMk/>
            <pc:sldMk cId="180394613" sldId="2146846108"/>
            <ac:spMk id="3" creationId="{F37952A8-26A7-4620-BB6E-749B2F7FE437}"/>
          </ac:spMkLst>
        </pc:spChg>
        <pc:spChg chg="mod">
          <ac:chgData name="Katerine Schifino" userId="37bb67de-9fcf-4611-888c-7e5b58184a2a" providerId="ADAL" clId="{FFC930EA-DB3B-4BF8-A71B-329AD02E46CE}" dt="2022-03-17T19:47:11.948" v="4214" actId="20577"/>
          <ac:spMkLst>
            <pc:docMk/>
            <pc:sldMk cId="180394613" sldId="2146846108"/>
            <ac:spMk id="4" creationId="{CD3B507D-B343-498F-97D5-78CBF4589AAB}"/>
          </ac:spMkLst>
        </pc:spChg>
        <pc:spChg chg="del">
          <ac:chgData name="Katerine Schifino" userId="37bb67de-9fcf-4611-888c-7e5b58184a2a" providerId="ADAL" clId="{FFC930EA-DB3B-4BF8-A71B-329AD02E46CE}" dt="2022-03-17T19:29:16.453" v="4127" actId="478"/>
          <ac:spMkLst>
            <pc:docMk/>
            <pc:sldMk cId="180394613" sldId="2146846108"/>
            <ac:spMk id="55" creationId="{693BE602-C9B4-412A-8447-FDCBB931768E}"/>
          </ac:spMkLst>
        </pc:spChg>
        <pc:spChg chg="add mod">
          <ac:chgData name="Katerine Schifino" userId="37bb67de-9fcf-4611-888c-7e5b58184a2a" providerId="ADAL" clId="{FFC930EA-DB3B-4BF8-A71B-329AD02E46CE}" dt="2022-03-17T19:58:09.949" v="4515" actId="20577"/>
          <ac:spMkLst>
            <pc:docMk/>
            <pc:sldMk cId="180394613" sldId="2146846108"/>
            <ac:spMk id="57" creationId="{BD1F0C49-F465-45F3-A15F-7C674A2D8D32}"/>
          </ac:spMkLst>
        </pc:spChg>
        <pc:spChg chg="add del mod">
          <ac:chgData name="Katerine Schifino" userId="37bb67de-9fcf-4611-888c-7e5b58184a2a" providerId="ADAL" clId="{FFC930EA-DB3B-4BF8-A71B-329AD02E46CE}" dt="2022-03-17T19:46:17.544" v="4164"/>
          <ac:spMkLst>
            <pc:docMk/>
            <pc:sldMk cId="180394613" sldId="2146846108"/>
            <ac:spMk id="58" creationId="{0C114598-C34B-4362-B8E3-5D00FAFE3554}"/>
          </ac:spMkLst>
        </pc:spChg>
        <pc:spChg chg="add del mod">
          <ac:chgData name="Katerine Schifino" userId="37bb67de-9fcf-4611-888c-7e5b58184a2a" providerId="ADAL" clId="{FFC930EA-DB3B-4BF8-A71B-329AD02E46CE}" dt="2022-03-17T19:48:39.664" v="4221"/>
          <ac:spMkLst>
            <pc:docMk/>
            <pc:sldMk cId="180394613" sldId="2146846108"/>
            <ac:spMk id="59" creationId="{376E9CBB-159F-435C-93BB-ACEBCB014231}"/>
          </ac:spMkLst>
        </pc:spChg>
        <pc:grpChg chg="del">
          <ac:chgData name="Katerine Schifino" userId="37bb67de-9fcf-4611-888c-7e5b58184a2a" providerId="ADAL" clId="{FFC930EA-DB3B-4BF8-A71B-329AD02E46CE}" dt="2022-03-17T19:29:16.453" v="4127" actId="478"/>
          <ac:grpSpMkLst>
            <pc:docMk/>
            <pc:sldMk cId="180394613" sldId="2146846108"/>
            <ac:grpSpMk id="54" creationId="{C8CACEA6-0212-4EFD-B253-05AA389E4D94}"/>
          </ac:grpSpMkLst>
        </pc:grpChg>
        <pc:grpChg chg="del">
          <ac:chgData name="Katerine Schifino" userId="37bb67de-9fcf-4611-888c-7e5b58184a2a" providerId="ADAL" clId="{FFC930EA-DB3B-4BF8-A71B-329AD02E46CE}" dt="2022-03-17T19:29:16.453" v="4127" actId="478"/>
          <ac:grpSpMkLst>
            <pc:docMk/>
            <pc:sldMk cId="180394613" sldId="2146846108"/>
            <ac:grpSpMk id="56" creationId="{28F61522-AC2E-485A-AF45-90E1FF06D661}"/>
          </ac:grpSpMkLst>
        </pc:grpChg>
      </pc:sldChg>
      <pc:sldChg chg="addSp delSp modSp add del mod modShow modNotesTx">
        <pc:chgData name="Katerine Schifino" userId="37bb67de-9fcf-4611-888c-7e5b58184a2a" providerId="ADAL" clId="{FFC930EA-DB3B-4BF8-A71B-329AD02E46CE}" dt="2022-03-18T21:11:25.595" v="7446" actId="47"/>
        <pc:sldMkLst>
          <pc:docMk/>
          <pc:sldMk cId="2030110827" sldId="2146846109"/>
        </pc:sldMkLst>
        <pc:spChg chg="del">
          <ac:chgData name="Katerine Schifino" userId="37bb67de-9fcf-4611-888c-7e5b58184a2a" providerId="ADAL" clId="{FFC930EA-DB3B-4BF8-A71B-329AD02E46CE}" dt="2022-03-17T19:47:27.591" v="4215" actId="478"/>
          <ac:spMkLst>
            <pc:docMk/>
            <pc:sldMk cId="2030110827" sldId="2146846109"/>
            <ac:spMk id="4" creationId="{CD3B507D-B343-498F-97D5-78CBF4589AAB}"/>
          </ac:spMkLst>
        </pc:spChg>
        <pc:spChg chg="add mod">
          <ac:chgData name="Katerine Schifino" userId="37bb67de-9fcf-4611-888c-7e5b58184a2a" providerId="ADAL" clId="{FFC930EA-DB3B-4BF8-A71B-329AD02E46CE}" dt="2022-03-17T19:47:28.208" v="4216"/>
          <ac:spMkLst>
            <pc:docMk/>
            <pc:sldMk cId="2030110827" sldId="2146846109"/>
            <ac:spMk id="5" creationId="{FC4B360A-636B-4037-97C1-D5CF67BAE728}"/>
          </ac:spMkLst>
        </pc:spChg>
        <pc:spChg chg="mod">
          <ac:chgData name="Katerine Schifino" userId="37bb67de-9fcf-4611-888c-7e5b58184a2a" providerId="ADAL" clId="{FFC930EA-DB3B-4BF8-A71B-329AD02E46CE}" dt="2022-03-17T19:55:27.999" v="4398" actId="21"/>
          <ac:spMkLst>
            <pc:docMk/>
            <pc:sldMk cId="2030110827" sldId="2146846109"/>
            <ac:spMk id="57" creationId="{BD1F0C49-F465-45F3-A15F-7C674A2D8D32}"/>
          </ac:spMkLst>
        </pc:spChg>
        <pc:spChg chg="del">
          <ac:chgData name="Katerine Schifino" userId="37bb67de-9fcf-4611-888c-7e5b58184a2a" providerId="ADAL" clId="{FFC930EA-DB3B-4BF8-A71B-329AD02E46CE}" dt="2022-03-17T19:46:24.515" v="4165" actId="478"/>
          <ac:spMkLst>
            <pc:docMk/>
            <pc:sldMk cId="2030110827" sldId="2146846109"/>
            <ac:spMk id="58" creationId="{0C114598-C34B-4362-B8E3-5D00FAFE3554}"/>
          </ac:spMkLst>
        </pc:spChg>
      </pc:sldChg>
      <pc:sldChg chg="addSp delSp modSp add mod modNotesTx">
        <pc:chgData name="Katerine Schifino" userId="37bb67de-9fcf-4611-888c-7e5b58184a2a" providerId="ADAL" clId="{FFC930EA-DB3B-4BF8-A71B-329AD02E46CE}" dt="2022-03-18T13:37:10.674" v="5265" actId="20577"/>
        <pc:sldMkLst>
          <pc:docMk/>
          <pc:sldMk cId="1006897491" sldId="2146846110"/>
        </pc:sldMkLst>
        <pc:spChg chg="mod">
          <ac:chgData name="Katerine Schifino" userId="37bb67de-9fcf-4611-888c-7e5b58184a2a" providerId="ADAL" clId="{FFC930EA-DB3B-4BF8-A71B-329AD02E46CE}" dt="2022-03-17T22:08:06.863" v="4737" actId="20577"/>
          <ac:spMkLst>
            <pc:docMk/>
            <pc:sldMk cId="1006897491" sldId="2146846110"/>
            <ac:spMk id="3" creationId="{D27D7BD4-79A4-4F74-AEDD-B6DF3D38FA7F}"/>
          </ac:spMkLst>
        </pc:spChg>
        <pc:spChg chg="del">
          <ac:chgData name="Katerine Schifino" userId="37bb67de-9fcf-4611-888c-7e5b58184a2a" providerId="ADAL" clId="{FFC930EA-DB3B-4BF8-A71B-329AD02E46CE}" dt="2022-03-17T22:07:38.684" v="4688" actId="478"/>
          <ac:spMkLst>
            <pc:docMk/>
            <pc:sldMk cId="1006897491" sldId="2146846110"/>
            <ac:spMk id="12" creationId="{A7B3DCC7-A365-463C-87BC-C3DC0D51DA37}"/>
          </ac:spMkLst>
        </pc:spChg>
        <pc:spChg chg="del">
          <ac:chgData name="Katerine Schifino" userId="37bb67de-9fcf-4611-888c-7e5b58184a2a" providerId="ADAL" clId="{FFC930EA-DB3B-4BF8-A71B-329AD02E46CE}" dt="2022-03-17T22:07:38.684" v="4688" actId="478"/>
          <ac:spMkLst>
            <pc:docMk/>
            <pc:sldMk cId="1006897491" sldId="2146846110"/>
            <ac:spMk id="14" creationId="{2B09DDE2-EDBD-4560-ABD8-E958800C1507}"/>
          </ac:spMkLst>
        </pc:spChg>
        <pc:spChg chg="del">
          <ac:chgData name="Katerine Schifino" userId="37bb67de-9fcf-4611-888c-7e5b58184a2a" providerId="ADAL" clId="{FFC930EA-DB3B-4BF8-A71B-329AD02E46CE}" dt="2022-03-17T22:07:38.684" v="4688" actId="478"/>
          <ac:spMkLst>
            <pc:docMk/>
            <pc:sldMk cId="1006897491" sldId="2146846110"/>
            <ac:spMk id="16" creationId="{9096FC7C-1A83-48BF-8A2F-0A8B74697F48}"/>
          </ac:spMkLst>
        </pc:spChg>
        <pc:spChg chg="add mod">
          <ac:chgData name="Katerine Schifino" userId="37bb67de-9fcf-4611-888c-7e5b58184a2a" providerId="ADAL" clId="{FFC930EA-DB3B-4BF8-A71B-329AD02E46CE}" dt="2022-03-18T13:34:14.586" v="5231" actId="20577"/>
          <ac:spMkLst>
            <pc:docMk/>
            <pc:sldMk cId="1006897491" sldId="2146846110"/>
            <ac:spMk id="17" creationId="{E7A80F3A-F3AA-4C42-831A-9C90FBFE5B40}"/>
          </ac:spMkLst>
        </pc:spChg>
        <pc:spChg chg="mod">
          <ac:chgData name="Katerine Schifino" userId="37bb67de-9fcf-4611-888c-7e5b58184a2a" providerId="ADAL" clId="{FFC930EA-DB3B-4BF8-A71B-329AD02E46CE}" dt="2022-03-18T13:33:48.562" v="5215" actId="20577"/>
          <ac:spMkLst>
            <pc:docMk/>
            <pc:sldMk cId="1006897491" sldId="2146846110"/>
            <ac:spMk id="23" creationId="{3E3AA026-E6FD-47DA-896B-B5B391EF8C22}"/>
          </ac:spMkLst>
        </pc:spChg>
        <pc:grpChg chg="del">
          <ac:chgData name="Katerine Schifino" userId="37bb67de-9fcf-4611-888c-7e5b58184a2a" providerId="ADAL" clId="{FFC930EA-DB3B-4BF8-A71B-329AD02E46CE}" dt="2022-03-17T22:07:38.684" v="4688" actId="478"/>
          <ac:grpSpMkLst>
            <pc:docMk/>
            <pc:sldMk cId="1006897491" sldId="2146846110"/>
            <ac:grpSpMk id="19" creationId="{A937DFF5-06AD-45D2-B3C2-E7E46519FF6B}"/>
          </ac:grpSpMkLst>
        </pc:grpChg>
        <pc:picChg chg="add del">
          <ac:chgData name="Katerine Schifino" userId="37bb67de-9fcf-4611-888c-7e5b58184a2a" providerId="ADAL" clId="{FFC930EA-DB3B-4BF8-A71B-329AD02E46CE}" dt="2022-03-17T22:11:37.272" v="4746" actId="478"/>
          <ac:picMkLst>
            <pc:docMk/>
            <pc:sldMk cId="1006897491" sldId="2146846110"/>
            <ac:picMk id="2050" creationId="{E6BC4964-860D-4E38-84EC-38B5867F5DCA}"/>
          </ac:picMkLst>
        </pc:picChg>
        <pc:picChg chg="add mod">
          <ac:chgData name="Katerine Schifino" userId="37bb67de-9fcf-4611-888c-7e5b58184a2a" providerId="ADAL" clId="{FFC930EA-DB3B-4BF8-A71B-329AD02E46CE}" dt="2022-03-17T22:17:59.368" v="4825" actId="1076"/>
          <ac:picMkLst>
            <pc:docMk/>
            <pc:sldMk cId="1006897491" sldId="2146846110"/>
            <ac:picMk id="2052" creationId="{C574E0B1-3FCA-4109-9783-89F43AF42A8F}"/>
          </ac:picMkLst>
        </pc:picChg>
        <pc:picChg chg="add mod">
          <ac:chgData name="Katerine Schifino" userId="37bb67de-9fcf-4611-888c-7e5b58184a2a" providerId="ADAL" clId="{FFC930EA-DB3B-4BF8-A71B-329AD02E46CE}" dt="2022-03-17T22:13:32.738" v="4766" actId="1076"/>
          <ac:picMkLst>
            <pc:docMk/>
            <pc:sldMk cId="1006897491" sldId="2146846110"/>
            <ac:picMk id="2054" creationId="{A0057C0A-B207-4829-BCF2-B4897ED0461F}"/>
          </ac:picMkLst>
        </pc:picChg>
        <pc:cxnChg chg="del">
          <ac:chgData name="Katerine Schifino" userId="37bb67de-9fcf-4611-888c-7e5b58184a2a" providerId="ADAL" clId="{FFC930EA-DB3B-4BF8-A71B-329AD02E46CE}" dt="2022-03-17T22:07:40.538" v="4689" actId="478"/>
          <ac:cxnSpMkLst>
            <pc:docMk/>
            <pc:sldMk cId="1006897491" sldId="2146846110"/>
            <ac:cxnSpMk id="15" creationId="{655B89E9-81B0-4E6F-963E-5AD968833B55}"/>
          </ac:cxnSpMkLst>
        </pc:cxnChg>
      </pc:sldChg>
      <pc:sldChg chg="addSp delSp modSp add mod ord modNotesTx">
        <pc:chgData name="Katerine Schifino" userId="37bb67de-9fcf-4611-888c-7e5b58184a2a" providerId="ADAL" clId="{FFC930EA-DB3B-4BF8-A71B-329AD02E46CE}" dt="2022-03-18T16:02:52.202" v="7321" actId="1076"/>
        <pc:sldMkLst>
          <pc:docMk/>
          <pc:sldMk cId="3104619810" sldId="2146846111"/>
        </pc:sldMkLst>
        <pc:spChg chg="del">
          <ac:chgData name="Katerine Schifino" userId="37bb67de-9fcf-4611-888c-7e5b58184a2a" providerId="ADAL" clId="{FFC930EA-DB3B-4BF8-A71B-329AD02E46CE}" dt="2022-03-18T13:25:27.888" v="5000" actId="478"/>
          <ac:spMkLst>
            <pc:docMk/>
            <pc:sldMk cId="3104619810" sldId="2146846111"/>
            <ac:spMk id="2" creationId="{3B49E5B8-19E9-4422-A267-22E191D3C958}"/>
          </ac:spMkLst>
        </pc:spChg>
        <pc:spChg chg="mod">
          <ac:chgData name="Katerine Schifino" userId="37bb67de-9fcf-4611-888c-7e5b58184a2a" providerId="ADAL" clId="{FFC930EA-DB3B-4BF8-A71B-329AD02E46CE}" dt="2022-03-18T16:02:52.202" v="7321" actId="1076"/>
          <ac:spMkLst>
            <pc:docMk/>
            <pc:sldMk cId="3104619810" sldId="2146846111"/>
            <ac:spMk id="3" creationId="{D27D7BD4-79A4-4F74-AEDD-B6DF3D38FA7F}"/>
          </ac:spMkLst>
        </pc:spChg>
        <pc:spChg chg="del">
          <ac:chgData name="Katerine Schifino" userId="37bb67de-9fcf-4611-888c-7e5b58184a2a" providerId="ADAL" clId="{FFC930EA-DB3B-4BF8-A71B-329AD02E46CE}" dt="2022-03-18T13:25:31.447" v="5001" actId="478"/>
          <ac:spMkLst>
            <pc:docMk/>
            <pc:sldMk cId="3104619810" sldId="2146846111"/>
            <ac:spMk id="12" creationId="{A7B3DCC7-A365-463C-87BC-C3DC0D51DA37}"/>
          </ac:spMkLst>
        </pc:spChg>
        <pc:spChg chg="add del mod">
          <ac:chgData name="Katerine Schifino" userId="37bb67de-9fcf-4611-888c-7e5b58184a2a" providerId="ADAL" clId="{FFC930EA-DB3B-4BF8-A71B-329AD02E46CE}" dt="2022-03-18T13:27:01.060" v="5015" actId="6549"/>
          <ac:spMkLst>
            <pc:docMk/>
            <pc:sldMk cId="3104619810" sldId="2146846111"/>
            <ac:spMk id="13" creationId="{65FF6500-2F4A-4E98-B8F8-78BD49B45955}"/>
          </ac:spMkLst>
        </pc:spChg>
        <pc:spChg chg="del">
          <ac:chgData name="Katerine Schifino" userId="37bb67de-9fcf-4611-888c-7e5b58184a2a" providerId="ADAL" clId="{FFC930EA-DB3B-4BF8-A71B-329AD02E46CE}" dt="2022-03-18T13:25:34.607" v="5003" actId="478"/>
          <ac:spMkLst>
            <pc:docMk/>
            <pc:sldMk cId="3104619810" sldId="2146846111"/>
            <ac:spMk id="14" creationId="{2B09DDE2-EDBD-4560-ABD8-E958800C1507}"/>
          </ac:spMkLst>
        </pc:spChg>
        <pc:spChg chg="del">
          <ac:chgData name="Katerine Schifino" userId="37bb67de-9fcf-4611-888c-7e5b58184a2a" providerId="ADAL" clId="{FFC930EA-DB3B-4BF8-A71B-329AD02E46CE}" dt="2022-03-18T13:25:34.607" v="5003" actId="478"/>
          <ac:spMkLst>
            <pc:docMk/>
            <pc:sldMk cId="3104619810" sldId="2146846111"/>
            <ac:spMk id="16" creationId="{9096FC7C-1A83-48BF-8A2F-0A8B74697F48}"/>
          </ac:spMkLst>
        </pc:spChg>
        <pc:spChg chg="add mod">
          <ac:chgData name="Katerine Schifino" userId="37bb67de-9fcf-4611-888c-7e5b58184a2a" providerId="ADAL" clId="{FFC930EA-DB3B-4BF8-A71B-329AD02E46CE}" dt="2022-03-18T13:28:27.935" v="5039" actId="12"/>
          <ac:spMkLst>
            <pc:docMk/>
            <pc:sldMk cId="3104619810" sldId="2146846111"/>
            <ac:spMk id="17" creationId="{C0A68A23-4353-436C-B5F1-97007446E1C6}"/>
          </ac:spMkLst>
        </pc:spChg>
        <pc:spChg chg="add mod">
          <ac:chgData name="Katerine Schifino" userId="37bb67de-9fcf-4611-888c-7e5b58184a2a" providerId="ADAL" clId="{FFC930EA-DB3B-4BF8-A71B-329AD02E46CE}" dt="2022-03-18T13:31:04.870" v="5078" actId="20577"/>
          <ac:spMkLst>
            <pc:docMk/>
            <pc:sldMk cId="3104619810" sldId="2146846111"/>
            <ac:spMk id="18" creationId="{E32777B3-4002-4637-ABA5-F97CE5D71774}"/>
          </ac:spMkLst>
        </pc:spChg>
        <pc:grpChg chg="del">
          <ac:chgData name="Katerine Schifino" userId="37bb67de-9fcf-4611-888c-7e5b58184a2a" providerId="ADAL" clId="{FFC930EA-DB3B-4BF8-A71B-329AD02E46CE}" dt="2022-03-18T13:25:32.868" v="5002" actId="478"/>
          <ac:grpSpMkLst>
            <pc:docMk/>
            <pc:sldMk cId="3104619810" sldId="2146846111"/>
            <ac:grpSpMk id="19" creationId="{A937DFF5-06AD-45D2-B3C2-E7E46519FF6B}"/>
          </ac:grpSpMkLst>
        </pc:grpChg>
        <pc:cxnChg chg="del">
          <ac:chgData name="Katerine Schifino" userId="37bb67de-9fcf-4611-888c-7e5b58184a2a" providerId="ADAL" clId="{FFC930EA-DB3B-4BF8-A71B-329AD02E46CE}" dt="2022-03-18T13:25:34.607" v="5003" actId="478"/>
          <ac:cxnSpMkLst>
            <pc:docMk/>
            <pc:sldMk cId="3104619810" sldId="2146846111"/>
            <ac:cxnSpMk id="15" creationId="{655B89E9-81B0-4E6F-963E-5AD968833B55}"/>
          </ac:cxnSpMkLst>
        </pc:cxnChg>
      </pc:sldChg>
      <pc:sldChg chg="modSp add del mod">
        <pc:chgData name="Katerine Schifino" userId="37bb67de-9fcf-4611-888c-7e5b58184a2a" providerId="ADAL" clId="{FFC930EA-DB3B-4BF8-A71B-329AD02E46CE}" dt="2022-03-18T21:11:27.611" v="7447" actId="47"/>
        <pc:sldMkLst>
          <pc:docMk/>
          <pc:sldMk cId="1307543664" sldId="2146846112"/>
        </pc:sldMkLst>
        <pc:spChg chg="mod">
          <ac:chgData name="Katerine Schifino" userId="37bb67de-9fcf-4611-888c-7e5b58184a2a" providerId="ADAL" clId="{FFC930EA-DB3B-4BF8-A71B-329AD02E46CE}" dt="2022-03-18T14:07:32.162" v="6207" actId="20577"/>
          <ac:spMkLst>
            <pc:docMk/>
            <pc:sldMk cId="1307543664" sldId="2146846112"/>
            <ac:spMk id="6" creationId="{112348B3-0062-49E3-BCA2-B30B6A7D3857}"/>
          </ac:spMkLst>
        </pc:spChg>
        <pc:picChg chg="mod">
          <ac:chgData name="Katerine Schifino" userId="37bb67de-9fcf-4611-888c-7e5b58184a2a" providerId="ADAL" clId="{FFC930EA-DB3B-4BF8-A71B-329AD02E46CE}" dt="2022-03-18T14:01:07.700" v="6100" actId="1076"/>
          <ac:picMkLst>
            <pc:docMk/>
            <pc:sldMk cId="1307543664" sldId="2146846112"/>
            <ac:picMk id="5124" creationId="{3AF1774A-4826-4DB3-A8CA-AAEA509EEBC6}"/>
          </ac:picMkLst>
        </pc:picChg>
      </pc:sldChg>
      <pc:sldChg chg="addSp delSp modSp add mod">
        <pc:chgData name="Katerine Schifino" userId="37bb67de-9fcf-4611-888c-7e5b58184a2a" providerId="ADAL" clId="{FFC930EA-DB3B-4BF8-A71B-329AD02E46CE}" dt="2022-03-18T16:22:53.593" v="7362" actId="20577"/>
        <pc:sldMkLst>
          <pc:docMk/>
          <pc:sldMk cId="2291766909" sldId="2146846113"/>
        </pc:sldMkLst>
        <pc:spChg chg="mod">
          <ac:chgData name="Katerine Schifino" userId="37bb67de-9fcf-4611-888c-7e5b58184a2a" providerId="ADAL" clId="{FFC930EA-DB3B-4BF8-A71B-329AD02E46CE}" dt="2022-03-18T16:22:53.593" v="7362" actId="20577"/>
          <ac:spMkLst>
            <pc:docMk/>
            <pc:sldMk cId="2291766909" sldId="2146846113"/>
            <ac:spMk id="3" creationId="{D27D7BD4-79A4-4F74-AEDD-B6DF3D38FA7F}"/>
          </ac:spMkLst>
        </pc:spChg>
        <pc:spChg chg="add mod">
          <ac:chgData name="Katerine Schifino" userId="37bb67de-9fcf-4611-888c-7e5b58184a2a" providerId="ADAL" clId="{FFC930EA-DB3B-4BF8-A71B-329AD02E46CE}" dt="2022-03-18T15:53:35.399" v="7255" actId="113"/>
          <ac:spMkLst>
            <pc:docMk/>
            <pc:sldMk cId="2291766909" sldId="2146846113"/>
            <ac:spMk id="8" creationId="{4571B095-B57F-4AD7-B77C-8D251FA0B17B}"/>
          </ac:spMkLst>
        </pc:spChg>
        <pc:spChg chg="add mod">
          <ac:chgData name="Katerine Schifino" userId="37bb67de-9fcf-4611-888c-7e5b58184a2a" providerId="ADAL" clId="{FFC930EA-DB3B-4BF8-A71B-329AD02E46CE}" dt="2022-03-18T15:45:06.415" v="6750" actId="20577"/>
          <ac:spMkLst>
            <pc:docMk/>
            <pc:sldMk cId="2291766909" sldId="2146846113"/>
            <ac:spMk id="9" creationId="{BB91843F-979B-4B4B-82FF-594F362F82CF}"/>
          </ac:spMkLst>
        </pc:spChg>
        <pc:spChg chg="del">
          <ac:chgData name="Katerine Schifino" userId="37bb67de-9fcf-4611-888c-7e5b58184a2a" providerId="ADAL" clId="{FFC930EA-DB3B-4BF8-A71B-329AD02E46CE}" dt="2022-03-18T15:39:39.807" v="6245" actId="478"/>
          <ac:spMkLst>
            <pc:docMk/>
            <pc:sldMk cId="2291766909" sldId="2146846113"/>
            <ac:spMk id="17" creationId="{E7A80F3A-F3AA-4C42-831A-9C90FBFE5B40}"/>
          </ac:spMkLst>
        </pc:spChg>
        <pc:spChg chg="del">
          <ac:chgData name="Katerine Schifino" userId="37bb67de-9fcf-4611-888c-7e5b58184a2a" providerId="ADAL" clId="{FFC930EA-DB3B-4BF8-A71B-329AD02E46CE}" dt="2022-03-18T15:39:39.807" v="6245" actId="478"/>
          <ac:spMkLst>
            <pc:docMk/>
            <pc:sldMk cId="2291766909" sldId="2146846113"/>
            <ac:spMk id="23" creationId="{3E3AA026-E6FD-47DA-896B-B5B391EF8C22}"/>
          </ac:spMkLst>
        </pc:spChg>
        <pc:graphicFrameChg chg="add mod modGraphic">
          <ac:chgData name="Katerine Schifino" userId="37bb67de-9fcf-4611-888c-7e5b58184a2a" providerId="ADAL" clId="{FFC930EA-DB3B-4BF8-A71B-329AD02E46CE}" dt="2022-03-18T15:44:31.515" v="6671" actId="1076"/>
          <ac:graphicFrameMkLst>
            <pc:docMk/>
            <pc:sldMk cId="2291766909" sldId="2146846113"/>
            <ac:graphicFrameMk id="2" creationId="{F81D94DD-05EC-46FE-B95A-7297376937D7}"/>
          </ac:graphicFrameMkLst>
        </pc:graphicFrameChg>
        <pc:picChg chg="add mod">
          <ac:chgData name="Katerine Schifino" userId="37bb67de-9fcf-4611-888c-7e5b58184a2a" providerId="ADAL" clId="{FFC930EA-DB3B-4BF8-A71B-329AD02E46CE}" dt="2022-03-18T15:53:25.298" v="7254" actId="1076"/>
          <ac:picMkLst>
            <pc:docMk/>
            <pc:sldMk cId="2291766909" sldId="2146846113"/>
            <ac:picMk id="5" creationId="{9698626C-8FFB-4190-B846-F3432A900F6E}"/>
          </ac:picMkLst>
        </pc:picChg>
        <pc:picChg chg="del">
          <ac:chgData name="Katerine Schifino" userId="37bb67de-9fcf-4611-888c-7e5b58184a2a" providerId="ADAL" clId="{FFC930EA-DB3B-4BF8-A71B-329AD02E46CE}" dt="2022-03-18T15:39:39.807" v="6245" actId="478"/>
          <ac:picMkLst>
            <pc:docMk/>
            <pc:sldMk cId="2291766909" sldId="2146846113"/>
            <ac:picMk id="2052" creationId="{C574E0B1-3FCA-4109-9783-89F43AF42A8F}"/>
          </ac:picMkLst>
        </pc:picChg>
        <pc:picChg chg="del">
          <ac:chgData name="Katerine Schifino" userId="37bb67de-9fcf-4611-888c-7e5b58184a2a" providerId="ADAL" clId="{FFC930EA-DB3B-4BF8-A71B-329AD02E46CE}" dt="2022-03-18T15:39:39.807" v="6245" actId="478"/>
          <ac:picMkLst>
            <pc:docMk/>
            <pc:sldMk cId="2291766909" sldId="2146846113"/>
            <ac:picMk id="2054" creationId="{A0057C0A-B207-4829-BCF2-B4897ED0461F}"/>
          </ac:picMkLst>
        </pc:picChg>
      </pc:sldChg>
      <pc:sldChg chg="addSp delSp modSp add mod">
        <pc:chgData name="Katerine Schifino" userId="37bb67de-9fcf-4611-888c-7e5b58184a2a" providerId="ADAL" clId="{FFC930EA-DB3B-4BF8-A71B-329AD02E46CE}" dt="2022-03-18T16:26:29.600" v="7440" actId="20577"/>
        <pc:sldMkLst>
          <pc:docMk/>
          <pc:sldMk cId="79006163" sldId="2146846114"/>
        </pc:sldMkLst>
        <pc:spChg chg="del mod">
          <ac:chgData name="Katerine Schifino" userId="37bb67de-9fcf-4611-888c-7e5b58184a2a" providerId="ADAL" clId="{FFC930EA-DB3B-4BF8-A71B-329AD02E46CE}" dt="2022-03-18T15:58:31.979" v="7282" actId="478"/>
          <ac:spMkLst>
            <pc:docMk/>
            <pc:sldMk cId="79006163" sldId="2146846114"/>
            <ac:spMk id="3" creationId="{D27D7BD4-79A4-4F74-AEDD-B6DF3D38FA7F}"/>
          </ac:spMkLst>
        </pc:spChg>
        <pc:spChg chg="mod">
          <ac:chgData name="Katerine Schifino" userId="37bb67de-9fcf-4611-888c-7e5b58184a2a" providerId="ADAL" clId="{FFC930EA-DB3B-4BF8-A71B-329AD02E46CE}" dt="2022-03-18T16:26:29.600" v="7440" actId="20577"/>
          <ac:spMkLst>
            <pc:docMk/>
            <pc:sldMk cId="79006163" sldId="2146846114"/>
            <ac:spMk id="8" creationId="{4571B095-B57F-4AD7-B77C-8D251FA0B17B}"/>
          </ac:spMkLst>
        </pc:spChg>
        <pc:spChg chg="del mod">
          <ac:chgData name="Katerine Schifino" userId="37bb67de-9fcf-4611-888c-7e5b58184a2a" providerId="ADAL" clId="{FFC930EA-DB3B-4BF8-A71B-329AD02E46CE}" dt="2022-03-18T15:58:19.542" v="7278" actId="478"/>
          <ac:spMkLst>
            <pc:docMk/>
            <pc:sldMk cId="79006163" sldId="2146846114"/>
            <ac:spMk id="9" creationId="{BB91843F-979B-4B4B-82FF-594F362F82CF}"/>
          </ac:spMkLst>
        </pc:spChg>
        <pc:spChg chg="mod">
          <ac:chgData name="Katerine Schifino" userId="37bb67de-9fcf-4611-888c-7e5b58184a2a" providerId="ADAL" clId="{FFC930EA-DB3B-4BF8-A71B-329AD02E46CE}" dt="2022-03-18T16:00:02.824" v="7292" actId="1076"/>
          <ac:spMkLst>
            <pc:docMk/>
            <pc:sldMk cId="79006163" sldId="2146846114"/>
            <ac:spMk id="10" creationId="{957A3328-D5CF-4192-819E-740C58E3C3FD}"/>
          </ac:spMkLst>
        </pc:spChg>
        <pc:spChg chg="mod">
          <ac:chgData name="Katerine Schifino" userId="37bb67de-9fcf-4611-888c-7e5b58184a2a" providerId="ADAL" clId="{FFC930EA-DB3B-4BF8-A71B-329AD02E46CE}" dt="2022-03-18T16:00:02.824" v="7292" actId="1076"/>
          <ac:spMkLst>
            <pc:docMk/>
            <pc:sldMk cId="79006163" sldId="2146846114"/>
            <ac:spMk id="13" creationId="{30E997D5-0D5B-48F6-B764-C8CBC26FC47A}"/>
          </ac:spMkLst>
        </pc:spChg>
        <pc:spChg chg="mod">
          <ac:chgData name="Katerine Schifino" userId="37bb67de-9fcf-4611-888c-7e5b58184a2a" providerId="ADAL" clId="{FFC930EA-DB3B-4BF8-A71B-329AD02E46CE}" dt="2022-03-18T16:00:02.824" v="7292" actId="1076"/>
          <ac:spMkLst>
            <pc:docMk/>
            <pc:sldMk cId="79006163" sldId="2146846114"/>
            <ac:spMk id="14" creationId="{359DFC96-4FA2-4481-B85B-9DBAAE735FAB}"/>
          </ac:spMkLst>
        </pc:spChg>
        <pc:spChg chg="add del mod">
          <ac:chgData name="Katerine Schifino" userId="37bb67de-9fcf-4611-888c-7e5b58184a2a" providerId="ADAL" clId="{FFC930EA-DB3B-4BF8-A71B-329AD02E46CE}" dt="2022-03-18T16:23:01.596" v="7364" actId="478"/>
          <ac:spMkLst>
            <pc:docMk/>
            <pc:sldMk cId="79006163" sldId="2146846114"/>
            <ac:spMk id="15" creationId="{7DFECF8A-EECF-4C7C-89AB-71BE42D98D31}"/>
          </ac:spMkLst>
        </pc:spChg>
        <pc:spChg chg="add mod">
          <ac:chgData name="Katerine Schifino" userId="37bb67de-9fcf-4611-888c-7e5b58184a2a" providerId="ADAL" clId="{FFC930EA-DB3B-4BF8-A71B-329AD02E46CE}" dt="2022-03-18T16:23:01.949" v="7365"/>
          <ac:spMkLst>
            <pc:docMk/>
            <pc:sldMk cId="79006163" sldId="2146846114"/>
            <ac:spMk id="16" creationId="{DBC6D4DA-83F0-4654-AA88-1B1ADFF3B524}"/>
          </ac:spMkLst>
        </pc:spChg>
        <pc:grpChg chg="add mod">
          <ac:chgData name="Katerine Schifino" userId="37bb67de-9fcf-4611-888c-7e5b58184a2a" providerId="ADAL" clId="{FFC930EA-DB3B-4BF8-A71B-329AD02E46CE}" dt="2022-03-18T16:00:02.824" v="7292" actId="1076"/>
          <ac:grpSpMkLst>
            <pc:docMk/>
            <pc:sldMk cId="79006163" sldId="2146846114"/>
            <ac:grpSpMk id="7" creationId="{C8B213EB-B8C1-4A1E-ACA1-D51F4DF7F1BD}"/>
          </ac:grpSpMkLst>
        </pc:grpChg>
        <pc:graphicFrameChg chg="mod">
          <ac:chgData name="Katerine Schifino" userId="37bb67de-9fcf-4611-888c-7e5b58184a2a" providerId="ADAL" clId="{FFC930EA-DB3B-4BF8-A71B-329AD02E46CE}" dt="2022-03-18T15:59:21.770" v="7290" actId="1076"/>
          <ac:graphicFrameMkLst>
            <pc:docMk/>
            <pc:sldMk cId="79006163" sldId="2146846114"/>
            <ac:graphicFrameMk id="2" creationId="{F81D94DD-05EC-46FE-B95A-7297376937D7}"/>
          </ac:graphicFrameMkLst>
        </pc:graphicFrameChg>
        <pc:picChg chg="del">
          <ac:chgData name="Katerine Schifino" userId="37bb67de-9fcf-4611-888c-7e5b58184a2a" providerId="ADAL" clId="{FFC930EA-DB3B-4BF8-A71B-329AD02E46CE}" dt="2022-03-18T15:58:10.093" v="7276" actId="478"/>
          <ac:picMkLst>
            <pc:docMk/>
            <pc:sldMk cId="79006163" sldId="2146846114"/>
            <ac:picMk id="5" creationId="{9698626C-8FFB-4190-B846-F3432A900F6E}"/>
          </ac:picMkLst>
        </pc:picChg>
        <pc:picChg chg="mod">
          <ac:chgData name="Katerine Schifino" userId="37bb67de-9fcf-4611-888c-7e5b58184a2a" providerId="ADAL" clId="{FFC930EA-DB3B-4BF8-A71B-329AD02E46CE}" dt="2022-03-18T16:00:02.824" v="7292" actId="1076"/>
          <ac:picMkLst>
            <pc:docMk/>
            <pc:sldMk cId="79006163" sldId="2146846114"/>
            <ac:picMk id="11" creationId="{272CCD8C-D91F-4F60-9AA3-B5FEAD45A21A}"/>
          </ac:picMkLst>
        </pc:picChg>
        <pc:picChg chg="mod">
          <ac:chgData name="Katerine Schifino" userId="37bb67de-9fcf-4611-888c-7e5b58184a2a" providerId="ADAL" clId="{FFC930EA-DB3B-4BF8-A71B-329AD02E46CE}" dt="2022-03-18T16:00:02.824" v="7292" actId="1076"/>
          <ac:picMkLst>
            <pc:docMk/>
            <pc:sldMk cId="79006163" sldId="2146846114"/>
            <ac:picMk id="12" creationId="{B5F3FE37-74F9-43CB-8F16-0F8F028C6471}"/>
          </ac:picMkLst>
        </pc:picChg>
      </pc:sldChg>
      <pc:sldChg chg="modSp add mod">
        <pc:chgData name="Katerine Schifino" userId="37bb67de-9fcf-4611-888c-7e5b58184a2a" providerId="ADAL" clId="{FFC930EA-DB3B-4BF8-A71B-329AD02E46CE}" dt="2022-03-18T21:12:47.579" v="7503" actId="20577"/>
        <pc:sldMkLst>
          <pc:docMk/>
          <pc:sldMk cId="820559724" sldId="2146846115"/>
        </pc:sldMkLst>
        <pc:graphicFrameChg chg="mod modGraphic">
          <ac:chgData name="Katerine Schifino" userId="37bb67de-9fcf-4611-888c-7e5b58184a2a" providerId="ADAL" clId="{FFC930EA-DB3B-4BF8-A71B-329AD02E46CE}" dt="2022-03-18T21:12:47.579" v="7503" actId="20577"/>
          <ac:graphicFrameMkLst>
            <pc:docMk/>
            <pc:sldMk cId="820559724" sldId="2146846115"/>
            <ac:graphicFrameMk id="2" creationId="{DABEA71B-03AC-48AD-8E3A-F5B4F36922D0}"/>
          </ac:graphicFrameMkLst>
        </pc:graphicFrameChg>
      </pc:sldChg>
      <pc:sldChg chg="modSp add mod">
        <pc:chgData name="Katerine Schifino" userId="37bb67de-9fcf-4611-888c-7e5b58184a2a" providerId="ADAL" clId="{FFC930EA-DB3B-4BF8-A71B-329AD02E46CE}" dt="2022-03-18T21:11:46.432" v="7450" actId="2165"/>
        <pc:sldMkLst>
          <pc:docMk/>
          <pc:sldMk cId="3566222815" sldId="2146846116"/>
        </pc:sldMkLst>
        <pc:graphicFrameChg chg="mod modGraphic">
          <ac:chgData name="Katerine Schifino" userId="37bb67de-9fcf-4611-888c-7e5b58184a2a" providerId="ADAL" clId="{FFC930EA-DB3B-4BF8-A71B-329AD02E46CE}" dt="2022-03-18T21:11:46.432" v="7450" actId="2165"/>
          <ac:graphicFrameMkLst>
            <pc:docMk/>
            <pc:sldMk cId="3566222815" sldId="2146846116"/>
            <ac:graphicFrameMk id="7" creationId="{D46312A1-FEC2-44EE-9A1F-92CAAC2AD827}"/>
          </ac:graphicFrameMkLst>
        </pc:graphicFrameChg>
      </pc:sldChg>
      <pc:sldChg chg="add del">
        <pc:chgData name="Katerine Schifino" userId="37bb67de-9fcf-4611-888c-7e5b58184a2a" providerId="ADAL" clId="{FFC930EA-DB3B-4BF8-A71B-329AD02E46CE}" dt="2022-03-18T16:22:27.147" v="7349" actId="47"/>
        <pc:sldMkLst>
          <pc:docMk/>
          <pc:sldMk cId="3134423469" sldId="2146846117"/>
        </pc:sldMkLst>
      </pc:sldChg>
      <pc:sldChg chg="addSp delSp modSp add mod">
        <pc:chgData name="Katerine Schifino" userId="37bb67de-9fcf-4611-888c-7e5b58184a2a" providerId="ADAL" clId="{FFC930EA-DB3B-4BF8-A71B-329AD02E46CE}" dt="2022-03-18T16:26:00.818" v="7430" actId="114"/>
        <pc:sldMkLst>
          <pc:docMk/>
          <pc:sldMk cId="404687484" sldId="2146846120"/>
        </pc:sldMkLst>
        <pc:spChg chg="del">
          <ac:chgData name="Katerine Schifino" userId="37bb67de-9fcf-4611-888c-7e5b58184a2a" providerId="ADAL" clId="{FFC930EA-DB3B-4BF8-A71B-329AD02E46CE}" dt="2022-03-18T16:22:46.748" v="7353" actId="478"/>
          <ac:spMkLst>
            <pc:docMk/>
            <pc:sldMk cId="404687484" sldId="2146846120"/>
            <ac:spMk id="7" creationId="{B623C279-E620-437B-A5C2-738D5D93D15B}"/>
          </ac:spMkLst>
        </pc:spChg>
        <pc:spChg chg="mod">
          <ac:chgData name="Katerine Schifino" userId="37bb67de-9fcf-4611-888c-7e5b58184a2a" providerId="ADAL" clId="{FFC930EA-DB3B-4BF8-A71B-329AD02E46CE}" dt="2022-03-18T16:26:00.818" v="7430" actId="114"/>
          <ac:spMkLst>
            <pc:docMk/>
            <pc:sldMk cId="404687484" sldId="2146846120"/>
            <ac:spMk id="8" creationId="{4571B095-B57F-4AD7-B77C-8D251FA0B17B}"/>
          </ac:spMkLst>
        </pc:spChg>
        <pc:spChg chg="del">
          <ac:chgData name="Katerine Schifino" userId="37bb67de-9fcf-4611-888c-7e5b58184a2a" providerId="ADAL" clId="{FFC930EA-DB3B-4BF8-A71B-329AD02E46CE}" dt="2022-03-18T16:22:43.596" v="7351" actId="478"/>
          <ac:spMkLst>
            <pc:docMk/>
            <pc:sldMk cId="404687484" sldId="2146846120"/>
            <ac:spMk id="9" creationId="{BB91843F-979B-4B4B-82FF-594F362F82CF}"/>
          </ac:spMkLst>
        </pc:spChg>
        <pc:spChg chg="add mod">
          <ac:chgData name="Katerine Schifino" userId="37bb67de-9fcf-4611-888c-7e5b58184a2a" providerId="ADAL" clId="{FFC930EA-DB3B-4BF8-A71B-329AD02E46CE}" dt="2022-03-18T16:22:44.123" v="7352"/>
          <ac:spMkLst>
            <pc:docMk/>
            <pc:sldMk cId="404687484" sldId="2146846120"/>
            <ac:spMk id="10" creationId="{A655C3DE-515F-4AC1-9AB0-85C88BB07AF5}"/>
          </ac:spMkLst>
        </pc:spChg>
        <pc:spChg chg="add mod">
          <ac:chgData name="Katerine Schifino" userId="37bb67de-9fcf-4611-888c-7e5b58184a2a" providerId="ADAL" clId="{FFC930EA-DB3B-4BF8-A71B-329AD02E46CE}" dt="2022-03-18T16:22:58.790" v="7363"/>
          <ac:spMkLst>
            <pc:docMk/>
            <pc:sldMk cId="404687484" sldId="2146846120"/>
            <ac:spMk id="11" creationId="{0CE4641F-B3BD-4370-AAE1-D5FAA716E724}"/>
          </ac:spMkLst>
        </pc:spChg>
        <pc:graphicFrameChg chg="del">
          <ac:chgData name="Katerine Schifino" userId="37bb67de-9fcf-4611-888c-7e5b58184a2a" providerId="ADAL" clId="{FFC930EA-DB3B-4BF8-A71B-329AD02E46CE}" dt="2022-03-18T16:22:43.596" v="7351" actId="478"/>
          <ac:graphicFrameMkLst>
            <pc:docMk/>
            <pc:sldMk cId="404687484" sldId="2146846120"/>
            <ac:graphicFrameMk id="2" creationId="{F81D94DD-05EC-46FE-B95A-7297376937D7}"/>
          </ac:graphicFrameMkLst>
        </pc:graphicFrameChg>
        <pc:graphicFrameChg chg="add mod">
          <ac:chgData name="Katerine Schifino" userId="37bb67de-9fcf-4611-888c-7e5b58184a2a" providerId="ADAL" clId="{FFC930EA-DB3B-4BF8-A71B-329AD02E46CE}" dt="2022-03-18T16:22:44.123" v="7352"/>
          <ac:graphicFrameMkLst>
            <pc:docMk/>
            <pc:sldMk cId="404687484" sldId="2146846120"/>
            <ac:graphicFrameMk id="6" creationId="{E0C64169-F596-42E8-95F9-76001DD5AD42}"/>
          </ac:graphicFrameMkLst>
        </pc:graphicFrameChg>
      </pc:sldChg>
      <pc:sldChg chg="modSp add mod">
        <pc:chgData name="Katerine Schifino" userId="37bb67de-9fcf-4611-888c-7e5b58184a2a" providerId="ADAL" clId="{FFC930EA-DB3B-4BF8-A71B-329AD02E46CE}" dt="2022-03-18T21:13:51.355" v="7511" actId="572"/>
        <pc:sldMkLst>
          <pc:docMk/>
          <pc:sldMk cId="3572489315" sldId="2146846121"/>
        </pc:sldMkLst>
        <pc:graphicFrameChg chg="mod modGraphic">
          <ac:chgData name="Katerine Schifino" userId="37bb67de-9fcf-4611-888c-7e5b58184a2a" providerId="ADAL" clId="{FFC930EA-DB3B-4BF8-A71B-329AD02E46CE}" dt="2022-03-18T21:13:51.355" v="7511" actId="572"/>
          <ac:graphicFrameMkLst>
            <pc:docMk/>
            <pc:sldMk cId="3572489315" sldId="2146846121"/>
            <ac:graphicFrameMk id="2" creationId="{DABEA71B-03AC-48AD-8E3A-F5B4F36922D0}"/>
          </ac:graphicFrameMkLst>
        </pc:graphicFrameChg>
      </pc:sldChg>
      <pc:sldChg chg="addSp delSp modSp add mod modClrScheme chgLayout">
        <pc:chgData name="Katerine Schifino" userId="37bb67de-9fcf-4611-888c-7e5b58184a2a" providerId="ADAL" clId="{FFC930EA-DB3B-4BF8-A71B-329AD02E46CE}" dt="2022-03-18T21:23:18.224" v="7960" actId="6549"/>
        <pc:sldMkLst>
          <pc:docMk/>
          <pc:sldMk cId="4171986206" sldId="2146846122"/>
        </pc:sldMkLst>
        <pc:spChg chg="add mod ord">
          <ac:chgData name="Katerine Schifino" userId="37bb67de-9fcf-4611-888c-7e5b58184a2a" providerId="ADAL" clId="{FFC930EA-DB3B-4BF8-A71B-329AD02E46CE}" dt="2022-03-18T21:22:26.478" v="7959" actId="1035"/>
          <ac:spMkLst>
            <pc:docMk/>
            <pc:sldMk cId="4171986206" sldId="2146846122"/>
            <ac:spMk id="3" creationId="{F4DB0439-D124-4764-A0AD-32975DA8BC5A}"/>
          </ac:spMkLst>
        </pc:spChg>
        <pc:spChg chg="add mod">
          <ac:chgData name="Katerine Schifino" userId="37bb67de-9fcf-4611-888c-7e5b58184a2a" providerId="ADAL" clId="{FFC930EA-DB3B-4BF8-A71B-329AD02E46CE}" dt="2022-03-18T21:15:34.846" v="7548" actId="20577"/>
          <ac:spMkLst>
            <pc:docMk/>
            <pc:sldMk cId="4171986206" sldId="2146846122"/>
            <ac:spMk id="7" creationId="{85D627C9-29B1-4848-9773-16FE4DE86C8D}"/>
          </ac:spMkLst>
        </pc:spChg>
        <pc:spChg chg="add mod">
          <ac:chgData name="Katerine Schifino" userId="37bb67de-9fcf-4611-888c-7e5b58184a2a" providerId="ADAL" clId="{FFC930EA-DB3B-4BF8-A71B-329AD02E46CE}" dt="2022-03-18T21:22:26.478" v="7959" actId="1035"/>
          <ac:spMkLst>
            <pc:docMk/>
            <pc:sldMk cId="4171986206" sldId="2146846122"/>
            <ac:spMk id="8" creationId="{50F13058-81F5-47F6-AE25-A40972F48EC1}"/>
          </ac:spMkLst>
        </pc:spChg>
        <pc:spChg chg="add mod">
          <ac:chgData name="Katerine Schifino" userId="37bb67de-9fcf-4611-888c-7e5b58184a2a" providerId="ADAL" clId="{FFC930EA-DB3B-4BF8-A71B-329AD02E46CE}" dt="2022-03-18T21:23:18.224" v="7960" actId="6549"/>
          <ac:spMkLst>
            <pc:docMk/>
            <pc:sldMk cId="4171986206" sldId="2146846122"/>
            <ac:spMk id="10" creationId="{1B12C56A-8D11-486C-BB59-68616B62BC70}"/>
          </ac:spMkLst>
        </pc:spChg>
        <pc:spChg chg="del">
          <ac:chgData name="Katerine Schifino" userId="37bb67de-9fcf-4611-888c-7e5b58184a2a" providerId="ADAL" clId="{FFC930EA-DB3B-4BF8-A71B-329AD02E46CE}" dt="2022-03-18T21:14:12.884" v="7514" actId="478"/>
          <ac:spMkLst>
            <pc:docMk/>
            <pc:sldMk cId="4171986206" sldId="2146846122"/>
            <ac:spMk id="145" creationId="{1597BE75-79C6-4C1B-9721-0E1BBD8760D8}"/>
          </ac:spMkLst>
        </pc:spChg>
        <pc:graphicFrameChg chg="del">
          <ac:chgData name="Katerine Schifino" userId="37bb67de-9fcf-4611-888c-7e5b58184a2a" providerId="ADAL" clId="{FFC930EA-DB3B-4BF8-A71B-329AD02E46CE}" dt="2022-03-18T21:14:12.884" v="7514" actId="478"/>
          <ac:graphicFrameMkLst>
            <pc:docMk/>
            <pc:sldMk cId="4171986206" sldId="2146846122"/>
            <ac:graphicFrameMk id="2" creationId="{DABEA71B-03AC-48AD-8E3A-F5B4F36922D0}"/>
          </ac:graphicFrameMkLst>
        </pc:graphicFrameChg>
        <pc:picChg chg="del">
          <ac:chgData name="Katerine Schifino" userId="37bb67de-9fcf-4611-888c-7e5b58184a2a" providerId="ADAL" clId="{FFC930EA-DB3B-4BF8-A71B-329AD02E46CE}" dt="2022-03-18T21:14:14.150" v="7515" actId="478"/>
          <ac:picMkLst>
            <pc:docMk/>
            <pc:sldMk cId="4171986206" sldId="2146846122"/>
            <ac:picMk id="6" creationId="{A34ECB51-3E0F-457D-93CF-8ECC8461D5CF}"/>
          </ac:picMkLst>
        </pc:picChg>
        <pc:picChg chg="add del mod">
          <ac:chgData name="Katerine Schifino" userId="37bb67de-9fcf-4611-888c-7e5b58184a2a" providerId="ADAL" clId="{FFC930EA-DB3B-4BF8-A71B-329AD02E46CE}" dt="2022-03-18T21:20:03.770" v="7857" actId="478"/>
          <ac:picMkLst>
            <pc:docMk/>
            <pc:sldMk cId="4171986206" sldId="2146846122"/>
            <ac:picMk id="11" creationId="{E4A08B7A-18F5-4B6E-9A8E-5FBC641B6EF6}"/>
          </ac:picMkLst>
        </pc:picChg>
        <pc:picChg chg="add mod">
          <ac:chgData name="Katerine Schifino" userId="37bb67de-9fcf-4611-888c-7e5b58184a2a" providerId="ADAL" clId="{FFC930EA-DB3B-4BF8-A71B-329AD02E46CE}" dt="2022-03-18T21:20:12.691" v="7860" actId="1076"/>
          <ac:picMkLst>
            <pc:docMk/>
            <pc:sldMk cId="4171986206" sldId="2146846122"/>
            <ac:picMk id="1026" creationId="{7449C477-B473-49B1-8D0D-48541E127DC8}"/>
          </ac:picMkLst>
        </pc:picChg>
        <pc:cxnChg chg="del">
          <ac:chgData name="Katerine Schifino" userId="37bb67de-9fcf-4611-888c-7e5b58184a2a" providerId="ADAL" clId="{FFC930EA-DB3B-4BF8-A71B-329AD02E46CE}" dt="2022-03-18T21:14:12.884" v="7514" actId="478"/>
          <ac:cxnSpMkLst>
            <pc:docMk/>
            <pc:sldMk cId="4171986206" sldId="2146846122"/>
            <ac:cxnSpMk id="9" creationId="{9E5C6AC8-A058-496E-AF83-5C015EC4396D}"/>
          </ac:cxnSpMkLst>
        </pc:cxnChg>
      </pc:sldChg>
    </pc:docChg>
  </pc:docChgLst>
  <pc:docChgLst>
    <pc:chgData name="Katerine Schifino" userId="37bb67de-9fcf-4611-888c-7e5b58184a2a" providerId="ADAL" clId="{0A609C83-7E24-45B9-AB42-13B9922C7410}"/>
    <pc:docChg chg="custSel addSld delSld modSld modSection">
      <pc:chgData name="Katerine Schifino" userId="37bb67de-9fcf-4611-888c-7e5b58184a2a" providerId="ADAL" clId="{0A609C83-7E24-45B9-AB42-13B9922C7410}" dt="2022-03-25T21:20:12.651" v="378"/>
      <pc:docMkLst>
        <pc:docMk/>
      </pc:docMkLst>
      <pc:sldChg chg="addSp delSp modSp del mod">
        <pc:chgData name="Katerine Schifino" userId="37bb67de-9fcf-4611-888c-7e5b58184a2a" providerId="ADAL" clId="{0A609C83-7E24-45B9-AB42-13B9922C7410}" dt="2022-03-25T20:37:14.661" v="7" actId="47"/>
        <pc:sldMkLst>
          <pc:docMk/>
          <pc:sldMk cId="3188289387" sldId="2080107992"/>
        </pc:sldMkLst>
        <pc:graphicFrameChg chg="add del mod">
          <ac:chgData name="Katerine Schifino" userId="37bb67de-9fcf-4611-888c-7e5b58184a2a" providerId="ADAL" clId="{0A609C83-7E24-45B9-AB42-13B9922C7410}" dt="2022-03-25T20:36:50.671" v="1" actId="478"/>
          <ac:graphicFrameMkLst>
            <pc:docMk/>
            <pc:sldMk cId="3188289387" sldId="2080107992"/>
            <ac:graphicFrameMk id="3" creationId="{B4507FC9-7958-48AF-8781-8FD55F3DD1B9}"/>
          </ac:graphicFrameMkLst>
        </pc:graphicFrameChg>
        <pc:graphicFrameChg chg="add del mod">
          <ac:chgData name="Katerine Schifino" userId="37bb67de-9fcf-4611-888c-7e5b58184a2a" providerId="ADAL" clId="{0A609C83-7E24-45B9-AB42-13B9922C7410}" dt="2022-03-25T20:36:56.311" v="3" actId="478"/>
          <ac:graphicFrameMkLst>
            <pc:docMk/>
            <pc:sldMk cId="3188289387" sldId="2080107992"/>
            <ac:graphicFrameMk id="5" creationId="{A1E6A5C3-B5FD-4E42-BC48-1AC1822906BE}"/>
          </ac:graphicFrameMkLst>
        </pc:graphicFrameChg>
        <pc:graphicFrameChg chg="add del mod">
          <ac:chgData name="Katerine Schifino" userId="37bb67de-9fcf-4611-888c-7e5b58184a2a" providerId="ADAL" clId="{0A609C83-7E24-45B9-AB42-13B9922C7410}" dt="2022-03-25T20:37:06.144" v="5" actId="478"/>
          <ac:graphicFrameMkLst>
            <pc:docMk/>
            <pc:sldMk cId="3188289387" sldId="2080107992"/>
            <ac:graphicFrameMk id="6" creationId="{E783E6C6-3EB6-4E14-9D67-DE7413AD8DC3}"/>
          </ac:graphicFrameMkLst>
        </pc:graphicFrameChg>
      </pc:sldChg>
      <pc:sldChg chg="modSp mod">
        <pc:chgData name="Katerine Schifino" userId="37bb67de-9fcf-4611-888c-7e5b58184a2a" providerId="ADAL" clId="{0A609C83-7E24-45B9-AB42-13B9922C7410}" dt="2022-03-25T20:48:55.817" v="244" actId="20577"/>
        <pc:sldMkLst>
          <pc:docMk/>
          <pc:sldMk cId="3424299804" sldId="2146846135"/>
        </pc:sldMkLst>
        <pc:spChg chg="mod">
          <ac:chgData name="Katerine Schifino" userId="37bb67de-9fcf-4611-888c-7e5b58184a2a" providerId="ADAL" clId="{0A609C83-7E24-45B9-AB42-13B9922C7410}" dt="2022-03-25T20:48:25.833" v="243"/>
          <ac:spMkLst>
            <pc:docMk/>
            <pc:sldMk cId="3424299804" sldId="2146846135"/>
            <ac:spMk id="29" creationId="{AC912CE1-71EF-4250-8EA0-0DDA67063F18}"/>
          </ac:spMkLst>
        </pc:spChg>
        <pc:spChg chg="mod">
          <ac:chgData name="Katerine Schifino" userId="37bb67de-9fcf-4611-888c-7e5b58184a2a" providerId="ADAL" clId="{0A609C83-7E24-45B9-AB42-13B9922C7410}" dt="2022-03-25T20:47:44.854" v="237" actId="20577"/>
          <ac:spMkLst>
            <pc:docMk/>
            <pc:sldMk cId="3424299804" sldId="2146846135"/>
            <ac:spMk id="64" creationId="{E2A1B381-8D93-4A35-BB90-6547B7AF5416}"/>
          </ac:spMkLst>
        </pc:spChg>
        <pc:spChg chg="mod">
          <ac:chgData name="Katerine Schifino" userId="37bb67de-9fcf-4611-888c-7e5b58184a2a" providerId="ADAL" clId="{0A609C83-7E24-45B9-AB42-13B9922C7410}" dt="2022-03-25T20:47:59.849" v="240" actId="20577"/>
          <ac:spMkLst>
            <pc:docMk/>
            <pc:sldMk cId="3424299804" sldId="2146846135"/>
            <ac:spMk id="66" creationId="{3DD6027A-F97B-4C13-8192-41677BFDC63C}"/>
          </ac:spMkLst>
        </pc:spChg>
        <pc:spChg chg="mod">
          <ac:chgData name="Katerine Schifino" userId="37bb67de-9fcf-4611-888c-7e5b58184a2a" providerId="ADAL" clId="{0A609C83-7E24-45B9-AB42-13B9922C7410}" dt="2022-03-25T20:48:07.327" v="241"/>
          <ac:spMkLst>
            <pc:docMk/>
            <pc:sldMk cId="3424299804" sldId="2146846135"/>
            <ac:spMk id="67" creationId="{E1A64BB7-1DB4-41FC-9EB1-B443634F2116}"/>
          </ac:spMkLst>
        </pc:spChg>
        <pc:spChg chg="mod">
          <ac:chgData name="Katerine Schifino" userId="37bb67de-9fcf-4611-888c-7e5b58184a2a" providerId="ADAL" clId="{0A609C83-7E24-45B9-AB42-13B9922C7410}" dt="2022-03-25T20:48:16.219" v="242"/>
          <ac:spMkLst>
            <pc:docMk/>
            <pc:sldMk cId="3424299804" sldId="2146846135"/>
            <ac:spMk id="68" creationId="{6BDF7D48-EAED-4B84-A1DC-098864858910}"/>
          </ac:spMkLst>
        </pc:spChg>
        <pc:graphicFrameChg chg="modGraphic">
          <ac:chgData name="Katerine Schifino" userId="37bb67de-9fcf-4611-888c-7e5b58184a2a" providerId="ADAL" clId="{0A609C83-7E24-45B9-AB42-13B9922C7410}" dt="2022-03-25T20:48:55.817" v="244" actId="20577"/>
          <ac:graphicFrameMkLst>
            <pc:docMk/>
            <pc:sldMk cId="3424299804" sldId="2146846135"/>
            <ac:graphicFrameMk id="3" creationId="{A3094207-4D4A-47E7-B0D1-41F594FAD789}"/>
          </ac:graphicFrameMkLst>
        </pc:graphicFrameChg>
      </pc:sldChg>
      <pc:sldChg chg="modSp mod">
        <pc:chgData name="Katerine Schifino" userId="37bb67de-9fcf-4611-888c-7e5b58184a2a" providerId="ADAL" clId="{0A609C83-7E24-45B9-AB42-13B9922C7410}" dt="2022-03-25T20:38:52.263" v="24"/>
        <pc:sldMkLst>
          <pc:docMk/>
          <pc:sldMk cId="3576568090" sldId="2146846137"/>
        </pc:sldMkLst>
        <pc:spChg chg="mod">
          <ac:chgData name="Katerine Schifino" userId="37bb67de-9fcf-4611-888c-7e5b58184a2a" providerId="ADAL" clId="{0A609C83-7E24-45B9-AB42-13B9922C7410}" dt="2022-03-25T20:37:22.895" v="14" actId="20577"/>
          <ac:spMkLst>
            <pc:docMk/>
            <pc:sldMk cId="3576568090" sldId="2146846137"/>
            <ac:spMk id="6" creationId="{C3E24BFF-A0DB-4ECE-96D3-5EAB937B7323}"/>
          </ac:spMkLst>
        </pc:spChg>
        <pc:spChg chg="mod">
          <ac:chgData name="Katerine Schifino" userId="37bb67de-9fcf-4611-888c-7e5b58184a2a" providerId="ADAL" clId="{0A609C83-7E24-45B9-AB42-13B9922C7410}" dt="2022-03-25T20:38:31.345" v="22" actId="115"/>
          <ac:spMkLst>
            <pc:docMk/>
            <pc:sldMk cId="3576568090" sldId="2146846137"/>
            <ac:spMk id="9" creationId="{C46E46B2-8DA6-4180-BE6E-D6D94C9C18D5}"/>
          </ac:spMkLst>
        </pc:spChg>
        <pc:graphicFrameChg chg="mod">
          <ac:chgData name="Katerine Schifino" userId="37bb67de-9fcf-4611-888c-7e5b58184a2a" providerId="ADAL" clId="{0A609C83-7E24-45B9-AB42-13B9922C7410}" dt="2022-03-25T20:38:52.263" v="24"/>
          <ac:graphicFrameMkLst>
            <pc:docMk/>
            <pc:sldMk cId="3576568090" sldId="2146846137"/>
            <ac:graphicFrameMk id="2" creationId="{90C4ECCF-9B28-475A-8668-643F413BD5F2}"/>
          </ac:graphicFrameMkLst>
        </pc:graphicFrameChg>
      </pc:sldChg>
      <pc:sldChg chg="addSp delSp modSp mod">
        <pc:chgData name="Katerine Schifino" userId="37bb67de-9fcf-4611-888c-7e5b58184a2a" providerId="ADAL" clId="{0A609C83-7E24-45B9-AB42-13B9922C7410}" dt="2022-03-25T21:16:11.446" v="302" actId="115"/>
        <pc:sldMkLst>
          <pc:docMk/>
          <pc:sldMk cId="2729674122" sldId="2146846138"/>
        </pc:sldMkLst>
        <pc:spChg chg="add mod">
          <ac:chgData name="Katerine Schifino" userId="37bb67de-9fcf-4611-888c-7e5b58184a2a" providerId="ADAL" clId="{0A609C83-7E24-45B9-AB42-13B9922C7410}" dt="2022-03-25T20:44:06.271" v="139"/>
          <ac:spMkLst>
            <pc:docMk/>
            <pc:sldMk cId="2729674122" sldId="2146846138"/>
            <ac:spMk id="4" creationId="{A9A4E206-162D-4148-A220-C6C68B016389}"/>
          </ac:spMkLst>
        </pc:spChg>
        <pc:spChg chg="mod">
          <ac:chgData name="Katerine Schifino" userId="37bb67de-9fcf-4611-888c-7e5b58184a2a" providerId="ADAL" clId="{0A609C83-7E24-45B9-AB42-13B9922C7410}" dt="2022-03-25T21:16:11.446" v="302" actId="115"/>
          <ac:spMkLst>
            <pc:docMk/>
            <pc:sldMk cId="2729674122" sldId="2146846138"/>
            <ac:spMk id="8" creationId="{F3692B0D-82AC-41A6-A5BD-1A4B9AC9B985}"/>
          </ac:spMkLst>
        </pc:spChg>
        <pc:spChg chg="del">
          <ac:chgData name="Katerine Schifino" userId="37bb67de-9fcf-4611-888c-7e5b58184a2a" providerId="ADAL" clId="{0A609C83-7E24-45B9-AB42-13B9922C7410}" dt="2022-03-25T20:44:05.767" v="138" actId="478"/>
          <ac:spMkLst>
            <pc:docMk/>
            <pc:sldMk cId="2729674122" sldId="2146846138"/>
            <ac:spMk id="9" creationId="{CE4A2C1A-0104-420F-86F4-4F0E52E284BB}"/>
          </ac:spMkLst>
        </pc:spChg>
      </pc:sldChg>
      <pc:sldChg chg="modSp mod">
        <pc:chgData name="Katerine Schifino" userId="37bb67de-9fcf-4611-888c-7e5b58184a2a" providerId="ADAL" clId="{0A609C83-7E24-45B9-AB42-13B9922C7410}" dt="2022-03-25T20:43:51.433" v="135" actId="20577"/>
        <pc:sldMkLst>
          <pc:docMk/>
          <pc:sldMk cId="3308792200" sldId="2146846139"/>
        </pc:sldMkLst>
        <pc:spChg chg="mod">
          <ac:chgData name="Katerine Schifino" userId="37bb67de-9fcf-4611-888c-7e5b58184a2a" providerId="ADAL" clId="{0A609C83-7E24-45B9-AB42-13B9922C7410}" dt="2022-03-25T20:39:03.803" v="25"/>
          <ac:spMkLst>
            <pc:docMk/>
            <pc:sldMk cId="3308792200" sldId="2146846139"/>
            <ac:spMk id="6" creationId="{C3E24BFF-A0DB-4ECE-96D3-5EAB937B7323}"/>
          </ac:spMkLst>
        </pc:spChg>
        <pc:spChg chg="mod">
          <ac:chgData name="Katerine Schifino" userId="37bb67de-9fcf-4611-888c-7e5b58184a2a" providerId="ADAL" clId="{0A609C83-7E24-45B9-AB42-13B9922C7410}" dt="2022-03-25T20:40:33.131" v="70"/>
          <ac:spMkLst>
            <pc:docMk/>
            <pc:sldMk cId="3308792200" sldId="2146846139"/>
            <ac:spMk id="9" creationId="{C46E46B2-8DA6-4180-BE6E-D6D94C9C18D5}"/>
          </ac:spMkLst>
        </pc:spChg>
        <pc:spChg chg="mod">
          <ac:chgData name="Katerine Schifino" userId="37bb67de-9fcf-4611-888c-7e5b58184a2a" providerId="ADAL" clId="{0A609C83-7E24-45B9-AB42-13B9922C7410}" dt="2022-03-25T20:43:51.433" v="135" actId="20577"/>
          <ac:spMkLst>
            <pc:docMk/>
            <pc:sldMk cId="3308792200" sldId="2146846139"/>
            <ac:spMk id="10" creationId="{BD334509-8071-4DDA-8AA5-4A11F7D38E21}"/>
          </ac:spMkLst>
        </pc:spChg>
        <pc:graphicFrameChg chg="mod modGraphic">
          <ac:chgData name="Katerine Schifino" userId="37bb67de-9fcf-4611-888c-7e5b58184a2a" providerId="ADAL" clId="{0A609C83-7E24-45B9-AB42-13B9922C7410}" dt="2022-03-25T20:41:22.238" v="99" actId="20577"/>
          <ac:graphicFrameMkLst>
            <pc:docMk/>
            <pc:sldMk cId="3308792200" sldId="2146846139"/>
            <ac:graphicFrameMk id="7" creationId="{C9AC83A0-A20D-4A6B-8729-5097ABD46F34}"/>
          </ac:graphicFrameMkLst>
        </pc:graphicFrameChg>
      </pc:sldChg>
      <pc:sldChg chg="addSp delSp modSp mod">
        <pc:chgData name="Katerine Schifino" userId="37bb67de-9fcf-4611-888c-7e5b58184a2a" providerId="ADAL" clId="{0A609C83-7E24-45B9-AB42-13B9922C7410}" dt="2022-03-25T20:47:30.181" v="233" actId="20577"/>
        <pc:sldMkLst>
          <pc:docMk/>
          <pc:sldMk cId="2318814632" sldId="2146846140"/>
        </pc:sldMkLst>
        <pc:spChg chg="mod">
          <ac:chgData name="Katerine Schifino" userId="37bb67de-9fcf-4611-888c-7e5b58184a2a" providerId="ADAL" clId="{0A609C83-7E24-45B9-AB42-13B9922C7410}" dt="2022-03-25T20:47:30.181" v="233" actId="20577"/>
          <ac:spMkLst>
            <pc:docMk/>
            <pc:sldMk cId="2318814632" sldId="2146846140"/>
            <ac:spMk id="2" creationId="{68EA5FB2-E061-4F05-8F80-5F71CF64B337}"/>
          </ac:spMkLst>
        </pc:spChg>
        <pc:spChg chg="del">
          <ac:chgData name="Katerine Schifino" userId="37bb67de-9fcf-4611-888c-7e5b58184a2a" providerId="ADAL" clId="{0A609C83-7E24-45B9-AB42-13B9922C7410}" dt="2022-03-25T20:44:01.017" v="136" actId="478"/>
          <ac:spMkLst>
            <pc:docMk/>
            <pc:sldMk cId="2318814632" sldId="2146846140"/>
            <ac:spMk id="6" creationId="{C3E24BFF-A0DB-4ECE-96D3-5EAB937B7323}"/>
          </ac:spMkLst>
        </pc:spChg>
        <pc:spChg chg="add mod">
          <ac:chgData name="Katerine Schifino" userId="37bb67de-9fcf-4611-888c-7e5b58184a2a" providerId="ADAL" clId="{0A609C83-7E24-45B9-AB42-13B9922C7410}" dt="2022-03-25T20:44:01.346" v="137"/>
          <ac:spMkLst>
            <pc:docMk/>
            <pc:sldMk cId="2318814632" sldId="2146846140"/>
            <ac:spMk id="7" creationId="{F2E0B432-0417-454C-AE55-3BA2111273C6}"/>
          </ac:spMkLst>
        </pc:spChg>
        <pc:spChg chg="mod">
          <ac:chgData name="Katerine Schifino" userId="37bb67de-9fcf-4611-888c-7e5b58184a2a" providerId="ADAL" clId="{0A609C83-7E24-45B9-AB42-13B9922C7410}" dt="2022-03-25T20:46:40.149" v="214"/>
          <ac:spMkLst>
            <pc:docMk/>
            <pc:sldMk cId="2318814632" sldId="2146846140"/>
            <ac:spMk id="11" creationId="{4E24824E-F86D-4BF1-A73F-457CD5F4A18D}"/>
          </ac:spMkLst>
        </pc:spChg>
      </pc:sldChg>
      <pc:sldChg chg="modSp mod">
        <pc:chgData name="Katerine Schifino" userId="37bb67de-9fcf-4611-888c-7e5b58184a2a" providerId="ADAL" clId="{0A609C83-7E24-45B9-AB42-13B9922C7410}" dt="2022-03-25T21:18:42.984" v="372" actId="6549"/>
        <pc:sldMkLst>
          <pc:docMk/>
          <pc:sldMk cId="3494044939" sldId="2146846141"/>
        </pc:sldMkLst>
        <pc:spChg chg="mod">
          <ac:chgData name="Katerine Schifino" userId="37bb67de-9fcf-4611-888c-7e5b58184a2a" providerId="ADAL" clId="{0A609C83-7E24-45B9-AB42-13B9922C7410}" dt="2022-03-25T21:13:47.125" v="245"/>
          <ac:spMkLst>
            <pc:docMk/>
            <pc:sldMk cId="3494044939" sldId="2146846141"/>
            <ac:spMk id="6" creationId="{C3E24BFF-A0DB-4ECE-96D3-5EAB937B7323}"/>
          </ac:spMkLst>
        </pc:spChg>
        <pc:spChg chg="mod">
          <ac:chgData name="Katerine Schifino" userId="37bb67de-9fcf-4611-888c-7e5b58184a2a" providerId="ADAL" clId="{0A609C83-7E24-45B9-AB42-13B9922C7410}" dt="2022-03-25T21:17:44.061" v="326" actId="12"/>
          <ac:spMkLst>
            <pc:docMk/>
            <pc:sldMk cId="3494044939" sldId="2146846141"/>
            <ac:spMk id="10" creationId="{11F68A45-4F33-493E-930F-2B9C2E4FDB2F}"/>
          </ac:spMkLst>
        </pc:spChg>
        <pc:spChg chg="mod">
          <ac:chgData name="Katerine Schifino" userId="37bb67de-9fcf-4611-888c-7e5b58184a2a" providerId="ADAL" clId="{0A609C83-7E24-45B9-AB42-13B9922C7410}" dt="2022-03-25T21:17:21.818" v="324" actId="20577"/>
          <ac:spMkLst>
            <pc:docMk/>
            <pc:sldMk cId="3494044939" sldId="2146846141"/>
            <ac:spMk id="11" creationId="{4E24824E-F86D-4BF1-A73F-457CD5F4A18D}"/>
          </ac:spMkLst>
        </pc:spChg>
        <pc:spChg chg="mod">
          <ac:chgData name="Katerine Schifino" userId="37bb67de-9fcf-4611-888c-7e5b58184a2a" providerId="ADAL" clId="{0A609C83-7E24-45B9-AB42-13B9922C7410}" dt="2022-03-25T21:18:42.984" v="372" actId="6549"/>
          <ac:spMkLst>
            <pc:docMk/>
            <pc:sldMk cId="3494044939" sldId="2146846141"/>
            <ac:spMk id="16" creationId="{0363F5E5-3982-41A4-BC17-54B86909FA7E}"/>
          </ac:spMkLst>
        </pc:spChg>
      </pc:sldChg>
      <pc:sldChg chg="modSp">
        <pc:chgData name="Katerine Schifino" userId="37bb67de-9fcf-4611-888c-7e5b58184a2a" providerId="ADAL" clId="{0A609C83-7E24-45B9-AB42-13B9922C7410}" dt="2022-03-25T21:20:12.651" v="378"/>
        <pc:sldMkLst>
          <pc:docMk/>
          <pc:sldMk cId="4215550961" sldId="2146846142"/>
        </pc:sldMkLst>
        <pc:graphicFrameChg chg="mod">
          <ac:chgData name="Katerine Schifino" userId="37bb67de-9fcf-4611-888c-7e5b58184a2a" providerId="ADAL" clId="{0A609C83-7E24-45B9-AB42-13B9922C7410}" dt="2022-03-25T21:20:12.651" v="378"/>
          <ac:graphicFrameMkLst>
            <pc:docMk/>
            <pc:sldMk cId="4215550961" sldId="2146846142"/>
            <ac:graphicFrameMk id="12" creationId="{2D8E720F-6750-4EC4-A661-2F27B7876BBF}"/>
          </ac:graphicFrameMkLst>
        </pc:graphicFrameChg>
      </pc:sldChg>
      <pc:sldChg chg="add">
        <pc:chgData name="Katerine Schifino" userId="37bb67de-9fcf-4611-888c-7e5b58184a2a" providerId="ADAL" clId="{0A609C83-7E24-45B9-AB42-13B9922C7410}" dt="2022-03-25T20:37:13.192" v="6"/>
        <pc:sldMkLst>
          <pc:docMk/>
          <pc:sldMk cId="3025678761" sldId="2146846143"/>
        </pc:sldMkLst>
      </pc:sldChg>
    </pc:docChg>
  </pc:docChgLst>
  <pc:docChgLst>
    <pc:chgData name="Bianca Naomy" userId="abf68bbe-83b2-4c0b-9325-ce8a54e5fdae" providerId="ADAL" clId="{3D0EF68F-496D-4DB5-988A-94E78AF2E23A}"/>
    <pc:docChg chg="undo custSel addSld delSld modSld">
      <pc:chgData name="Bianca Naomy" userId="abf68bbe-83b2-4c0b-9325-ce8a54e5fdae" providerId="ADAL" clId="{3D0EF68F-496D-4DB5-988A-94E78AF2E23A}" dt="2022-03-14T14:28:16.897" v="31"/>
      <pc:docMkLst>
        <pc:docMk/>
      </pc:docMkLst>
      <pc:sldChg chg="add del">
        <pc:chgData name="Bianca Naomy" userId="abf68bbe-83b2-4c0b-9325-ce8a54e5fdae" providerId="ADAL" clId="{3D0EF68F-496D-4DB5-988A-94E78AF2E23A}" dt="2022-03-14T13:46:15.332" v="4" actId="47"/>
        <pc:sldMkLst>
          <pc:docMk/>
          <pc:sldMk cId="1230900351" sldId="2146846085"/>
        </pc:sldMkLst>
      </pc:sldChg>
      <pc:sldChg chg="modSp mod">
        <pc:chgData name="Bianca Naomy" userId="abf68bbe-83b2-4c0b-9325-ce8a54e5fdae" providerId="ADAL" clId="{3D0EF68F-496D-4DB5-988A-94E78AF2E23A}" dt="2022-03-14T13:47:13.418" v="26" actId="14100"/>
        <pc:sldMkLst>
          <pc:docMk/>
          <pc:sldMk cId="2851014050" sldId="2146846086"/>
        </pc:sldMkLst>
        <pc:spChg chg="mod">
          <ac:chgData name="Bianca Naomy" userId="abf68bbe-83b2-4c0b-9325-ce8a54e5fdae" providerId="ADAL" clId="{3D0EF68F-496D-4DB5-988A-94E78AF2E23A}" dt="2022-03-14T13:47:13.418" v="26" actId="14100"/>
          <ac:spMkLst>
            <pc:docMk/>
            <pc:sldMk cId="2851014050" sldId="2146846086"/>
            <ac:spMk id="5" creationId="{CE0A2097-C16B-40B9-998B-BADE8D8FD360}"/>
          </ac:spMkLst>
        </pc:spChg>
      </pc:sldChg>
      <pc:sldChg chg="modSp mod">
        <pc:chgData name="Bianca Naomy" userId="abf68bbe-83b2-4c0b-9325-ce8a54e5fdae" providerId="ADAL" clId="{3D0EF68F-496D-4DB5-988A-94E78AF2E23A}" dt="2022-03-14T13:44:27.383" v="1" actId="108"/>
        <pc:sldMkLst>
          <pc:docMk/>
          <pc:sldMk cId="383325140" sldId="2146846088"/>
        </pc:sldMkLst>
        <pc:spChg chg="mod">
          <ac:chgData name="Bianca Naomy" userId="abf68bbe-83b2-4c0b-9325-ce8a54e5fdae" providerId="ADAL" clId="{3D0EF68F-496D-4DB5-988A-94E78AF2E23A}" dt="2022-03-14T13:44:27.383" v="1" actId="108"/>
          <ac:spMkLst>
            <pc:docMk/>
            <pc:sldMk cId="383325140" sldId="2146846088"/>
            <ac:spMk id="7" creationId="{9D971B76-39BB-4F59-925B-D4649E5075A1}"/>
          </ac:spMkLst>
        </pc:spChg>
      </pc:sldChg>
      <pc:sldChg chg="add del">
        <pc:chgData name="Bianca Naomy" userId="abf68bbe-83b2-4c0b-9325-ce8a54e5fdae" providerId="ADAL" clId="{3D0EF68F-496D-4DB5-988A-94E78AF2E23A}" dt="2022-03-14T13:46:16.645" v="5"/>
        <pc:sldMkLst>
          <pc:docMk/>
          <pc:sldMk cId="1462831530" sldId="2146846094"/>
        </pc:sldMkLst>
      </pc:sldChg>
      <pc:sldChg chg="modSp mod">
        <pc:chgData name="Bianca Naomy" userId="abf68bbe-83b2-4c0b-9325-ce8a54e5fdae" providerId="ADAL" clId="{3D0EF68F-496D-4DB5-988A-94E78AF2E23A}" dt="2022-03-14T14:28:16.897" v="31"/>
        <pc:sldMkLst>
          <pc:docMk/>
          <pc:sldMk cId="2732974769" sldId="2146846094"/>
        </pc:sldMkLst>
        <pc:spChg chg="mod">
          <ac:chgData name="Bianca Naomy" userId="abf68bbe-83b2-4c0b-9325-ce8a54e5fdae" providerId="ADAL" clId="{3D0EF68F-496D-4DB5-988A-94E78AF2E23A}" dt="2022-03-14T14:28:16.897" v="31"/>
          <ac:spMkLst>
            <pc:docMk/>
            <pc:sldMk cId="2732974769" sldId="2146846094"/>
            <ac:spMk id="5" creationId="{627EBBDC-F27E-4C02-853D-FC28E86BB1E0}"/>
          </ac:spMkLst>
        </pc:spChg>
      </pc:sldChg>
    </pc:docChg>
  </pc:docChgLst>
  <pc:docChgLst>
    <pc:chgData name="Katerine Schifino" userId="37bb67de-9fcf-4611-888c-7e5b58184a2a" providerId="ADAL" clId="{58C35E70-9B3E-4909-9CC8-3720A011650A}"/>
    <pc:docChg chg="undo redo custSel addSld delSld modSld">
      <pc:chgData name="Katerine Schifino" userId="37bb67de-9fcf-4611-888c-7e5b58184a2a" providerId="ADAL" clId="{58C35E70-9B3E-4909-9CC8-3720A011650A}" dt="2022-02-21T22:12:46.523" v="2919" actId="1076"/>
      <pc:docMkLst>
        <pc:docMk/>
      </pc:docMkLst>
      <pc:sldChg chg="modSp mod">
        <pc:chgData name="Katerine Schifino" userId="37bb67de-9fcf-4611-888c-7e5b58184a2a" providerId="ADAL" clId="{58C35E70-9B3E-4909-9CC8-3720A011650A}" dt="2022-02-21T21:17:22.213" v="2603" actId="20577"/>
        <pc:sldMkLst>
          <pc:docMk/>
          <pc:sldMk cId="1390084327" sldId="2146846067"/>
        </pc:sldMkLst>
        <pc:spChg chg="mod">
          <ac:chgData name="Katerine Schifino" userId="37bb67de-9fcf-4611-888c-7e5b58184a2a" providerId="ADAL" clId="{58C35E70-9B3E-4909-9CC8-3720A011650A}" dt="2022-02-21T21:17:22.213" v="2603" actId="20577"/>
          <ac:spMkLst>
            <pc:docMk/>
            <pc:sldMk cId="1390084327" sldId="2146846067"/>
            <ac:spMk id="4" creationId="{2ED80763-D8A0-45A2-9778-83954983BC11}"/>
          </ac:spMkLst>
        </pc:spChg>
      </pc:sldChg>
      <pc:sldChg chg="modSp mod">
        <pc:chgData name="Katerine Schifino" userId="37bb67de-9fcf-4611-888c-7e5b58184a2a" providerId="ADAL" clId="{58C35E70-9B3E-4909-9CC8-3720A011650A}" dt="2022-02-21T19:41:25.075" v="1516" actId="20577"/>
        <pc:sldMkLst>
          <pc:docMk/>
          <pc:sldMk cId="3769645891" sldId="2146846068"/>
        </pc:sldMkLst>
        <pc:spChg chg="mod">
          <ac:chgData name="Katerine Schifino" userId="37bb67de-9fcf-4611-888c-7e5b58184a2a" providerId="ADAL" clId="{58C35E70-9B3E-4909-9CC8-3720A011650A}" dt="2022-02-21T19:41:25.075" v="1516" actId="20577"/>
          <ac:spMkLst>
            <pc:docMk/>
            <pc:sldMk cId="3769645891" sldId="2146846068"/>
            <ac:spMk id="2" creationId="{C0E9A057-F805-4750-9C97-49B491EDA40C}"/>
          </ac:spMkLst>
        </pc:spChg>
      </pc:sldChg>
      <pc:sldChg chg="modSp mod">
        <pc:chgData name="Katerine Schifino" userId="37bb67de-9fcf-4611-888c-7e5b58184a2a" providerId="ADAL" clId="{58C35E70-9B3E-4909-9CC8-3720A011650A}" dt="2022-02-21T22:00:30.111" v="2644" actId="20577"/>
        <pc:sldMkLst>
          <pc:docMk/>
          <pc:sldMk cId="555850471" sldId="2146846069"/>
        </pc:sldMkLst>
        <pc:spChg chg="mod">
          <ac:chgData name="Katerine Schifino" userId="37bb67de-9fcf-4611-888c-7e5b58184a2a" providerId="ADAL" clId="{58C35E70-9B3E-4909-9CC8-3720A011650A}" dt="2022-02-21T22:00:30.111" v="2644" actId="20577"/>
          <ac:spMkLst>
            <pc:docMk/>
            <pc:sldMk cId="555850471" sldId="2146846069"/>
            <ac:spMk id="10" creationId="{5FEBD768-6CBB-4D42-B186-30EDCE4EE10B}"/>
          </ac:spMkLst>
        </pc:spChg>
      </pc:sldChg>
      <pc:sldChg chg="addSp delSp modSp add mod">
        <pc:chgData name="Katerine Schifino" userId="37bb67de-9fcf-4611-888c-7e5b58184a2a" providerId="ADAL" clId="{58C35E70-9B3E-4909-9CC8-3720A011650A}" dt="2022-02-21T22:00:55.214" v="2682" actId="20577"/>
        <pc:sldMkLst>
          <pc:docMk/>
          <pc:sldMk cId="668602395" sldId="2146846070"/>
        </pc:sldMkLst>
        <pc:spChg chg="add mod">
          <ac:chgData name="Katerine Schifino" userId="37bb67de-9fcf-4611-888c-7e5b58184a2a" providerId="ADAL" clId="{58C35E70-9B3E-4909-9CC8-3720A011650A}" dt="2022-02-21T22:00:40.848" v="2649" actId="6549"/>
          <ac:spMkLst>
            <pc:docMk/>
            <pc:sldMk cId="668602395" sldId="2146846070"/>
            <ac:spMk id="4" creationId="{33CCAFE0-38CF-4E6D-87EC-B575431B4F03}"/>
          </ac:spMkLst>
        </pc:spChg>
        <pc:spChg chg="add del mod">
          <ac:chgData name="Katerine Schifino" userId="37bb67de-9fcf-4611-888c-7e5b58184a2a" providerId="ADAL" clId="{58C35E70-9B3E-4909-9CC8-3720A011650A}" dt="2022-02-21T19:40:50.486" v="1496" actId="1076"/>
          <ac:spMkLst>
            <pc:docMk/>
            <pc:sldMk cId="668602395" sldId="2146846070"/>
            <ac:spMk id="10" creationId="{5FEBD768-6CBB-4D42-B186-30EDCE4EE10B}"/>
          </ac:spMkLst>
        </pc:spChg>
        <pc:spChg chg="add mod">
          <ac:chgData name="Katerine Schifino" userId="37bb67de-9fcf-4611-888c-7e5b58184a2a" providerId="ADAL" clId="{58C35E70-9B3E-4909-9CC8-3720A011650A}" dt="2022-02-21T22:00:43.910" v="2656" actId="20577"/>
          <ac:spMkLst>
            <pc:docMk/>
            <pc:sldMk cId="668602395" sldId="2146846070"/>
            <ac:spMk id="54" creationId="{CCDC07F6-3AC9-4F03-9DBC-31ED1CCF2A00}"/>
          </ac:spMkLst>
        </pc:spChg>
        <pc:spChg chg="add mod">
          <ac:chgData name="Katerine Schifino" userId="37bb67de-9fcf-4611-888c-7e5b58184a2a" providerId="ADAL" clId="{58C35E70-9B3E-4909-9CC8-3720A011650A}" dt="2022-02-21T22:00:48.534" v="2667" actId="6549"/>
          <ac:spMkLst>
            <pc:docMk/>
            <pc:sldMk cId="668602395" sldId="2146846070"/>
            <ac:spMk id="55" creationId="{ECBB1FA4-0EF7-4E04-A9AF-76A57C1DDEA8}"/>
          </ac:spMkLst>
        </pc:spChg>
        <pc:spChg chg="add mod">
          <ac:chgData name="Katerine Schifino" userId="37bb67de-9fcf-4611-888c-7e5b58184a2a" providerId="ADAL" clId="{58C35E70-9B3E-4909-9CC8-3720A011650A}" dt="2022-02-21T22:00:52.457" v="2677" actId="6549"/>
          <ac:spMkLst>
            <pc:docMk/>
            <pc:sldMk cId="668602395" sldId="2146846070"/>
            <ac:spMk id="57" creationId="{0BFF77A9-070C-4A69-9E21-495C225B46FC}"/>
          </ac:spMkLst>
        </pc:spChg>
        <pc:spChg chg="add mod">
          <ac:chgData name="Katerine Schifino" userId="37bb67de-9fcf-4611-888c-7e5b58184a2a" providerId="ADAL" clId="{58C35E70-9B3E-4909-9CC8-3720A011650A}" dt="2022-02-21T22:00:55.214" v="2682" actId="20577"/>
          <ac:spMkLst>
            <pc:docMk/>
            <pc:sldMk cId="668602395" sldId="2146846070"/>
            <ac:spMk id="58" creationId="{A184FEFA-7C45-4BC5-B3CD-BF879F6E512B}"/>
          </ac:spMkLst>
        </pc:spChg>
        <pc:spChg chg="add mod">
          <ac:chgData name="Katerine Schifino" userId="37bb67de-9fcf-4611-888c-7e5b58184a2a" providerId="ADAL" clId="{58C35E70-9B3E-4909-9CC8-3720A011650A}" dt="2022-02-21T19:39:35.037" v="1475" actId="1036"/>
          <ac:spMkLst>
            <pc:docMk/>
            <pc:sldMk cId="668602395" sldId="2146846070"/>
            <ac:spMk id="60" creationId="{F75801D6-1968-4310-8160-62B6ABE3B90C}"/>
          </ac:spMkLst>
        </pc:spChg>
        <pc:spChg chg="add mod">
          <ac:chgData name="Katerine Schifino" userId="37bb67de-9fcf-4611-888c-7e5b58184a2a" providerId="ADAL" clId="{58C35E70-9B3E-4909-9CC8-3720A011650A}" dt="2022-02-21T19:40:04.168" v="1489" actId="1036"/>
          <ac:spMkLst>
            <pc:docMk/>
            <pc:sldMk cId="668602395" sldId="2146846070"/>
            <ac:spMk id="61" creationId="{7853FFE2-B48A-458C-84B9-2FAE28EBBDB1}"/>
          </ac:spMkLst>
        </pc:spChg>
        <pc:spChg chg="add mod">
          <ac:chgData name="Katerine Schifino" userId="37bb67de-9fcf-4611-888c-7e5b58184a2a" providerId="ADAL" clId="{58C35E70-9B3E-4909-9CC8-3720A011650A}" dt="2022-02-21T19:39:30.511" v="1473" actId="552"/>
          <ac:spMkLst>
            <pc:docMk/>
            <pc:sldMk cId="668602395" sldId="2146846070"/>
            <ac:spMk id="63" creationId="{AB747E47-0D9A-448C-A297-F1099DD98708}"/>
          </ac:spMkLst>
        </pc:spChg>
        <pc:spChg chg="add mod">
          <ac:chgData name="Katerine Schifino" userId="37bb67de-9fcf-4611-888c-7e5b58184a2a" providerId="ADAL" clId="{58C35E70-9B3E-4909-9CC8-3720A011650A}" dt="2022-02-21T19:39:30.511" v="1473" actId="552"/>
          <ac:spMkLst>
            <pc:docMk/>
            <pc:sldMk cId="668602395" sldId="2146846070"/>
            <ac:spMk id="64" creationId="{B3BCFD08-0E54-4C65-928B-59D44FC4D128}"/>
          </ac:spMkLst>
        </pc:spChg>
        <pc:spChg chg="add mod">
          <ac:chgData name="Katerine Schifino" userId="37bb67de-9fcf-4611-888c-7e5b58184a2a" providerId="ADAL" clId="{58C35E70-9B3E-4909-9CC8-3720A011650A}" dt="2022-02-21T19:39:30.511" v="1473" actId="552"/>
          <ac:spMkLst>
            <pc:docMk/>
            <pc:sldMk cId="668602395" sldId="2146846070"/>
            <ac:spMk id="65" creationId="{2B7D12C8-7996-4A0F-8324-BD79436A62E8}"/>
          </ac:spMkLst>
        </pc:spChg>
        <pc:grpChg chg="add del">
          <ac:chgData name="Katerine Schifino" userId="37bb67de-9fcf-4611-888c-7e5b58184a2a" providerId="ADAL" clId="{58C35E70-9B3E-4909-9CC8-3720A011650A}" dt="2022-02-21T16:02:16.590" v="5" actId="478"/>
          <ac:grpSpMkLst>
            <pc:docMk/>
            <pc:sldMk cId="668602395" sldId="2146846070"/>
            <ac:grpSpMk id="83" creationId="{B69FA838-9C0E-4BEE-8470-F18478E45D85}"/>
          </ac:grpSpMkLst>
        </pc:grpChg>
        <pc:grpChg chg="add del">
          <ac:chgData name="Katerine Schifino" userId="37bb67de-9fcf-4611-888c-7e5b58184a2a" providerId="ADAL" clId="{58C35E70-9B3E-4909-9CC8-3720A011650A}" dt="2022-02-21T16:02:16.590" v="5" actId="478"/>
          <ac:grpSpMkLst>
            <pc:docMk/>
            <pc:sldMk cId="668602395" sldId="2146846070"/>
            <ac:grpSpMk id="85" creationId="{4D370F2A-6830-40D4-A0A8-0708A322EDCB}"/>
          </ac:grpSpMkLst>
        </pc:grpChg>
        <pc:grpChg chg="add del">
          <ac:chgData name="Katerine Schifino" userId="37bb67de-9fcf-4611-888c-7e5b58184a2a" providerId="ADAL" clId="{58C35E70-9B3E-4909-9CC8-3720A011650A}" dt="2022-02-21T16:02:14.173" v="3" actId="478"/>
          <ac:grpSpMkLst>
            <pc:docMk/>
            <pc:sldMk cId="668602395" sldId="2146846070"/>
            <ac:grpSpMk id="93" creationId="{E47A2887-67B7-458B-9BE2-50902BB9810B}"/>
          </ac:grpSpMkLst>
        </pc:grpChg>
        <pc:grpChg chg="add del">
          <ac:chgData name="Katerine Schifino" userId="37bb67de-9fcf-4611-888c-7e5b58184a2a" providerId="ADAL" clId="{58C35E70-9B3E-4909-9CC8-3720A011650A}" dt="2022-02-21T16:02:14.173" v="3" actId="478"/>
          <ac:grpSpMkLst>
            <pc:docMk/>
            <pc:sldMk cId="668602395" sldId="2146846070"/>
            <ac:grpSpMk id="104" creationId="{A3E98061-1D7B-4A93-8514-7482A4874219}"/>
          </ac:grpSpMkLst>
        </pc:grpChg>
        <pc:picChg chg="add del mod">
          <ac:chgData name="Katerine Schifino" userId="37bb67de-9fcf-4611-888c-7e5b58184a2a" providerId="ADAL" clId="{58C35E70-9B3E-4909-9CC8-3720A011650A}" dt="2022-02-21T16:35:27.740" v="172" actId="478"/>
          <ac:picMkLst>
            <pc:docMk/>
            <pc:sldMk cId="668602395" sldId="2146846070"/>
            <ac:picMk id="3" creationId="{9D1AD852-9E25-4B75-8BA6-D53F4F348C36}"/>
          </ac:picMkLst>
        </pc:picChg>
        <pc:picChg chg="add del mod">
          <ac:chgData name="Katerine Schifino" userId="37bb67de-9fcf-4611-888c-7e5b58184a2a" providerId="ADAL" clId="{58C35E70-9B3E-4909-9CC8-3720A011650A}" dt="2022-02-21T19:29:39.721" v="1365" actId="478"/>
          <ac:picMkLst>
            <pc:docMk/>
            <pc:sldMk cId="668602395" sldId="2146846070"/>
            <ac:picMk id="6" creationId="{894E52A6-636D-4D7F-8247-D57E53579245}"/>
          </ac:picMkLst>
        </pc:picChg>
        <pc:picChg chg="add del">
          <ac:chgData name="Katerine Schifino" userId="37bb67de-9fcf-4611-888c-7e5b58184a2a" providerId="ADAL" clId="{58C35E70-9B3E-4909-9CC8-3720A011650A}" dt="2022-02-21T16:02:15.206" v="4" actId="478"/>
          <ac:picMkLst>
            <pc:docMk/>
            <pc:sldMk cId="668602395" sldId="2146846070"/>
            <ac:picMk id="17434" creationId="{525906E4-8D5C-434E-ACCB-4E2B58D4B495}"/>
          </ac:picMkLst>
        </pc:picChg>
        <pc:cxnChg chg="add mod">
          <ac:chgData name="Katerine Schifino" userId="37bb67de-9fcf-4611-888c-7e5b58184a2a" providerId="ADAL" clId="{58C35E70-9B3E-4909-9CC8-3720A011650A}" dt="2022-02-21T19:41:47.042" v="1519" actId="255"/>
          <ac:cxnSpMkLst>
            <pc:docMk/>
            <pc:sldMk cId="668602395" sldId="2146846070"/>
            <ac:cxnSpMk id="8" creationId="{3FA1B797-A142-41B3-A313-27DCB849BC1B}"/>
          </ac:cxnSpMkLst>
        </pc:cxnChg>
        <pc:cxnChg chg="add del">
          <ac:chgData name="Katerine Schifino" userId="37bb67de-9fcf-4611-888c-7e5b58184a2a" providerId="ADAL" clId="{58C35E70-9B3E-4909-9CC8-3720A011650A}" dt="2022-02-21T16:02:16.590" v="5" actId="478"/>
          <ac:cxnSpMkLst>
            <pc:docMk/>
            <pc:sldMk cId="668602395" sldId="2146846070"/>
            <ac:cxnSpMk id="14" creationId="{761294EF-88C9-4001-9E68-D250AA5E0E19}"/>
          </ac:cxnSpMkLst>
        </pc:cxnChg>
        <pc:cxnChg chg="add del">
          <ac:chgData name="Katerine Schifino" userId="37bb67de-9fcf-4611-888c-7e5b58184a2a" providerId="ADAL" clId="{58C35E70-9B3E-4909-9CC8-3720A011650A}" dt="2022-02-21T16:02:16.590" v="5" actId="478"/>
          <ac:cxnSpMkLst>
            <pc:docMk/>
            <pc:sldMk cId="668602395" sldId="2146846070"/>
            <ac:cxnSpMk id="17" creationId="{E2967E53-85EE-4E89-ACF5-DD72D45D2D35}"/>
          </ac:cxnSpMkLst>
        </pc:cxnChg>
        <pc:cxnChg chg="add mod">
          <ac:chgData name="Katerine Schifino" userId="37bb67de-9fcf-4611-888c-7e5b58184a2a" providerId="ADAL" clId="{58C35E70-9B3E-4909-9CC8-3720A011650A}" dt="2022-02-21T19:41:52.960" v="1521" actId="255"/>
          <ac:cxnSpMkLst>
            <pc:docMk/>
            <pc:sldMk cId="668602395" sldId="2146846070"/>
            <ac:cxnSpMk id="71" creationId="{DD7EAD17-8AFF-462A-B9BA-7ECDEFCD666A}"/>
          </ac:cxnSpMkLst>
        </pc:cxnChg>
        <pc:cxnChg chg="add mod">
          <ac:chgData name="Katerine Schifino" userId="37bb67de-9fcf-4611-888c-7e5b58184a2a" providerId="ADAL" clId="{58C35E70-9B3E-4909-9CC8-3720A011650A}" dt="2022-02-21T19:41:50.336" v="1520" actId="255"/>
          <ac:cxnSpMkLst>
            <pc:docMk/>
            <pc:sldMk cId="668602395" sldId="2146846070"/>
            <ac:cxnSpMk id="75" creationId="{2E17744C-5D6A-419C-B9B9-2C5929F8A39F}"/>
          </ac:cxnSpMkLst>
        </pc:cxnChg>
        <pc:cxnChg chg="add mod">
          <ac:chgData name="Katerine Schifino" userId="37bb67de-9fcf-4611-888c-7e5b58184a2a" providerId="ADAL" clId="{58C35E70-9B3E-4909-9CC8-3720A011650A}" dt="2022-02-21T19:41:42.186" v="1517" actId="403"/>
          <ac:cxnSpMkLst>
            <pc:docMk/>
            <pc:sldMk cId="668602395" sldId="2146846070"/>
            <ac:cxnSpMk id="80" creationId="{66468942-55CD-4210-9787-AB73B2355E13}"/>
          </ac:cxnSpMkLst>
        </pc:cxnChg>
        <pc:cxnChg chg="add mod">
          <ac:chgData name="Katerine Schifino" userId="37bb67de-9fcf-4611-888c-7e5b58184a2a" providerId="ADAL" clId="{58C35E70-9B3E-4909-9CC8-3720A011650A}" dt="2022-02-21T19:41:44.360" v="1518" actId="403"/>
          <ac:cxnSpMkLst>
            <pc:docMk/>
            <pc:sldMk cId="668602395" sldId="2146846070"/>
            <ac:cxnSpMk id="86" creationId="{20A0F161-C425-458F-B950-ACF5CBBCD06D}"/>
          </ac:cxnSpMkLst>
        </pc:cxnChg>
      </pc:sldChg>
      <pc:sldChg chg="addSp delSp modSp add mod">
        <pc:chgData name="Katerine Schifino" userId="37bb67de-9fcf-4611-888c-7e5b58184a2a" providerId="ADAL" clId="{58C35E70-9B3E-4909-9CC8-3720A011650A}" dt="2022-02-21T22:01:46.502" v="2701" actId="20577"/>
        <pc:sldMkLst>
          <pc:docMk/>
          <pc:sldMk cId="2549410134" sldId="2146846071"/>
        </pc:sldMkLst>
        <pc:spChg chg="del">
          <ac:chgData name="Katerine Schifino" userId="37bb67de-9fcf-4611-888c-7e5b58184a2a" providerId="ADAL" clId="{58C35E70-9B3E-4909-9CC8-3720A011650A}" dt="2022-02-21T16:40:30.885" v="216" actId="478"/>
          <ac:spMkLst>
            <pc:docMk/>
            <pc:sldMk cId="2549410134" sldId="2146846071"/>
            <ac:spMk id="4" creationId="{33CCAFE0-38CF-4E6D-87EC-B575431B4F03}"/>
          </ac:spMkLst>
        </pc:spChg>
        <pc:spChg chg="add del">
          <ac:chgData name="Katerine Schifino" userId="37bb67de-9fcf-4611-888c-7e5b58184a2a" providerId="ADAL" clId="{58C35E70-9B3E-4909-9CC8-3720A011650A}" dt="2022-02-21T16:40:08.014" v="209" actId="22"/>
          <ac:spMkLst>
            <pc:docMk/>
            <pc:sldMk cId="2549410134" sldId="2146846071"/>
            <ac:spMk id="9" creationId="{76BB9D10-23EA-4CDE-A744-D74ADF57B61C}"/>
          </ac:spMkLst>
        </pc:spChg>
        <pc:spChg chg="mod">
          <ac:chgData name="Katerine Schifino" userId="37bb67de-9fcf-4611-888c-7e5b58184a2a" providerId="ADAL" clId="{58C35E70-9B3E-4909-9CC8-3720A011650A}" dt="2022-02-21T22:01:46.502" v="2701" actId="20577"/>
          <ac:spMkLst>
            <pc:docMk/>
            <pc:sldMk cId="2549410134" sldId="2146846071"/>
            <ac:spMk id="10" creationId="{5FEBD768-6CBB-4D42-B186-30EDCE4EE10B}"/>
          </ac:spMkLst>
        </pc:spChg>
        <pc:spChg chg="add del mod">
          <ac:chgData name="Katerine Schifino" userId="37bb67de-9fcf-4611-888c-7e5b58184a2a" providerId="ADAL" clId="{58C35E70-9B3E-4909-9CC8-3720A011650A}" dt="2022-02-21T16:40:21.639" v="214"/>
          <ac:spMkLst>
            <pc:docMk/>
            <pc:sldMk cId="2549410134" sldId="2146846071"/>
            <ac:spMk id="11" creationId="{5B596C17-0EC8-4A1C-BFD0-1EB1628318E4}"/>
          </ac:spMkLst>
        </pc:spChg>
        <pc:spChg chg="add mod">
          <ac:chgData name="Katerine Schifino" userId="37bb67de-9fcf-4611-888c-7e5b58184a2a" providerId="ADAL" clId="{58C35E70-9B3E-4909-9CC8-3720A011650A}" dt="2022-02-21T20:13:23.723" v="1700" actId="14100"/>
          <ac:spMkLst>
            <pc:docMk/>
            <pc:sldMk cId="2549410134" sldId="2146846071"/>
            <ac:spMk id="15" creationId="{CE240FE3-6669-44CE-944F-5CBFC9DD569D}"/>
          </ac:spMkLst>
        </pc:spChg>
        <pc:spChg chg="add mod">
          <ac:chgData name="Katerine Schifino" userId="37bb67de-9fcf-4611-888c-7e5b58184a2a" providerId="ADAL" clId="{58C35E70-9B3E-4909-9CC8-3720A011650A}" dt="2022-02-21T20:08:39.323" v="1670" actId="20577"/>
          <ac:spMkLst>
            <pc:docMk/>
            <pc:sldMk cId="2549410134" sldId="2146846071"/>
            <ac:spMk id="17" creationId="{C2F41610-68A9-424E-AEF5-EFBCF326687A}"/>
          </ac:spMkLst>
        </pc:spChg>
        <pc:spChg chg="add del mod">
          <ac:chgData name="Katerine Schifino" userId="37bb67de-9fcf-4611-888c-7e5b58184a2a" providerId="ADAL" clId="{58C35E70-9B3E-4909-9CC8-3720A011650A}" dt="2022-02-21T19:56:12.089" v="1535" actId="478"/>
          <ac:spMkLst>
            <pc:docMk/>
            <pc:sldMk cId="2549410134" sldId="2146846071"/>
            <ac:spMk id="19" creationId="{56209563-33C7-46DA-80B1-B3DCBDEE07CC}"/>
          </ac:spMkLst>
        </pc:spChg>
        <pc:spChg chg="add del mod">
          <ac:chgData name="Katerine Schifino" userId="37bb67de-9fcf-4611-888c-7e5b58184a2a" providerId="ADAL" clId="{58C35E70-9B3E-4909-9CC8-3720A011650A}" dt="2022-02-21T20:04:23.581" v="1595" actId="478"/>
          <ac:spMkLst>
            <pc:docMk/>
            <pc:sldMk cId="2549410134" sldId="2146846071"/>
            <ac:spMk id="25" creationId="{64941ED2-945E-4DC0-BE6E-A52D52AD430D}"/>
          </ac:spMkLst>
        </pc:spChg>
        <pc:spChg chg="add mod">
          <ac:chgData name="Katerine Schifino" userId="37bb67de-9fcf-4611-888c-7e5b58184a2a" providerId="ADAL" clId="{58C35E70-9B3E-4909-9CC8-3720A011650A}" dt="2022-02-21T20:08:33.911" v="1666" actId="1076"/>
          <ac:spMkLst>
            <pc:docMk/>
            <pc:sldMk cId="2549410134" sldId="2146846071"/>
            <ac:spMk id="27" creationId="{5A095F37-E01E-4D83-B7EB-6C5A5789F7CE}"/>
          </ac:spMkLst>
        </pc:spChg>
        <pc:spChg chg="add mod">
          <ac:chgData name="Katerine Schifino" userId="37bb67de-9fcf-4611-888c-7e5b58184a2a" providerId="ADAL" clId="{58C35E70-9B3E-4909-9CC8-3720A011650A}" dt="2022-02-21T20:09:27.773" v="1682" actId="113"/>
          <ac:spMkLst>
            <pc:docMk/>
            <pc:sldMk cId="2549410134" sldId="2146846071"/>
            <ac:spMk id="31" creationId="{B6FD31D8-8991-4AA8-8A8D-89A8769B8676}"/>
          </ac:spMkLst>
        </pc:spChg>
        <pc:spChg chg="del">
          <ac:chgData name="Katerine Schifino" userId="37bb67de-9fcf-4611-888c-7e5b58184a2a" providerId="ADAL" clId="{58C35E70-9B3E-4909-9CC8-3720A011650A}" dt="2022-02-21T16:40:30.885" v="216" actId="478"/>
          <ac:spMkLst>
            <pc:docMk/>
            <pc:sldMk cId="2549410134" sldId="2146846071"/>
            <ac:spMk id="54" creationId="{CCDC07F6-3AC9-4F03-9DBC-31ED1CCF2A00}"/>
          </ac:spMkLst>
        </pc:spChg>
        <pc:spChg chg="del">
          <ac:chgData name="Katerine Schifino" userId="37bb67de-9fcf-4611-888c-7e5b58184a2a" providerId="ADAL" clId="{58C35E70-9B3E-4909-9CC8-3720A011650A}" dt="2022-02-21T16:40:30.885" v="216" actId="478"/>
          <ac:spMkLst>
            <pc:docMk/>
            <pc:sldMk cId="2549410134" sldId="2146846071"/>
            <ac:spMk id="55" creationId="{ECBB1FA4-0EF7-4E04-A9AF-76A57C1DDEA8}"/>
          </ac:spMkLst>
        </pc:spChg>
        <pc:spChg chg="del">
          <ac:chgData name="Katerine Schifino" userId="37bb67de-9fcf-4611-888c-7e5b58184a2a" providerId="ADAL" clId="{58C35E70-9B3E-4909-9CC8-3720A011650A}" dt="2022-02-21T16:40:30.885" v="216" actId="478"/>
          <ac:spMkLst>
            <pc:docMk/>
            <pc:sldMk cId="2549410134" sldId="2146846071"/>
            <ac:spMk id="57" creationId="{0BFF77A9-070C-4A69-9E21-495C225B46FC}"/>
          </ac:spMkLst>
        </pc:spChg>
        <pc:spChg chg="del">
          <ac:chgData name="Katerine Schifino" userId="37bb67de-9fcf-4611-888c-7e5b58184a2a" providerId="ADAL" clId="{58C35E70-9B3E-4909-9CC8-3720A011650A}" dt="2022-02-21T16:40:30.885" v="216" actId="478"/>
          <ac:spMkLst>
            <pc:docMk/>
            <pc:sldMk cId="2549410134" sldId="2146846071"/>
            <ac:spMk id="58" creationId="{A184FEFA-7C45-4BC5-B3CD-BF879F6E512B}"/>
          </ac:spMkLst>
        </pc:spChg>
        <pc:picChg chg="add del">
          <ac:chgData name="Katerine Schifino" userId="37bb67de-9fcf-4611-888c-7e5b58184a2a" providerId="ADAL" clId="{58C35E70-9B3E-4909-9CC8-3720A011650A}" dt="2022-02-21T16:48:59.201" v="279" actId="478"/>
          <ac:picMkLst>
            <pc:docMk/>
            <pc:sldMk cId="2549410134" sldId="2146846071"/>
            <ac:picMk id="6" creationId="{1BD37B16-FFCA-4A46-9EF7-42730F41E1F4}"/>
          </ac:picMkLst>
        </pc:picChg>
        <pc:picChg chg="add del mod">
          <ac:chgData name="Katerine Schifino" userId="37bb67de-9fcf-4611-888c-7e5b58184a2a" providerId="ADAL" clId="{58C35E70-9B3E-4909-9CC8-3720A011650A}" dt="2022-02-21T19:57:38.287" v="1541" actId="478"/>
          <ac:picMkLst>
            <pc:docMk/>
            <pc:sldMk cId="2549410134" sldId="2146846071"/>
            <ac:picMk id="24578" creationId="{F74F3CEF-E82E-4470-BD44-A05CAC2C9C19}"/>
          </ac:picMkLst>
        </pc:picChg>
        <pc:picChg chg="add del mod">
          <ac:chgData name="Katerine Schifino" userId="37bb67de-9fcf-4611-888c-7e5b58184a2a" providerId="ADAL" clId="{58C35E70-9B3E-4909-9CC8-3720A011650A}" dt="2022-02-21T20:13:32.471" v="1701" actId="478"/>
          <ac:picMkLst>
            <pc:docMk/>
            <pc:sldMk cId="2549410134" sldId="2146846071"/>
            <ac:picMk id="24580" creationId="{18204F64-95B0-47DE-ACE7-C4C9AD563FB7}"/>
          </ac:picMkLst>
        </pc:picChg>
        <pc:picChg chg="add del mod">
          <ac:chgData name="Katerine Schifino" userId="37bb67de-9fcf-4611-888c-7e5b58184a2a" providerId="ADAL" clId="{58C35E70-9B3E-4909-9CC8-3720A011650A}" dt="2022-02-21T20:00:08.196" v="1562" actId="478"/>
          <ac:picMkLst>
            <pc:docMk/>
            <pc:sldMk cId="2549410134" sldId="2146846071"/>
            <ac:picMk id="24582" creationId="{D77DEED2-C5C5-4150-BD07-A8069C051678}"/>
          </ac:picMkLst>
        </pc:picChg>
        <pc:picChg chg="add del mod">
          <ac:chgData name="Katerine Schifino" userId="37bb67de-9fcf-4611-888c-7e5b58184a2a" providerId="ADAL" clId="{58C35E70-9B3E-4909-9CC8-3720A011650A}" dt="2022-02-21T20:00:43.243" v="1568" actId="478"/>
          <ac:picMkLst>
            <pc:docMk/>
            <pc:sldMk cId="2549410134" sldId="2146846071"/>
            <ac:picMk id="24584" creationId="{4E2FFC95-631F-4D77-A051-6043472FE965}"/>
          </ac:picMkLst>
        </pc:picChg>
        <pc:picChg chg="add mod">
          <ac:chgData name="Katerine Schifino" userId="37bb67de-9fcf-4611-888c-7e5b58184a2a" providerId="ADAL" clId="{58C35E70-9B3E-4909-9CC8-3720A011650A}" dt="2022-02-21T20:08:42.106" v="1671" actId="1076"/>
          <ac:picMkLst>
            <pc:docMk/>
            <pc:sldMk cId="2549410134" sldId="2146846071"/>
            <ac:picMk id="24586" creationId="{59243879-C047-4141-A23F-2A1A46338A1C}"/>
          </ac:picMkLst>
        </pc:picChg>
        <pc:picChg chg="add mod">
          <ac:chgData name="Katerine Schifino" userId="37bb67de-9fcf-4611-888c-7e5b58184a2a" providerId="ADAL" clId="{58C35E70-9B3E-4909-9CC8-3720A011650A}" dt="2022-02-21T20:08:29.843" v="1665" actId="1076"/>
          <ac:picMkLst>
            <pc:docMk/>
            <pc:sldMk cId="2549410134" sldId="2146846071"/>
            <ac:picMk id="24588" creationId="{FECDDE79-4B05-438C-BF12-36ED6A3E1EC7}"/>
          </ac:picMkLst>
        </pc:picChg>
        <pc:picChg chg="add mod">
          <ac:chgData name="Katerine Schifino" userId="37bb67de-9fcf-4611-888c-7e5b58184a2a" providerId="ADAL" clId="{58C35E70-9B3E-4909-9CC8-3720A011650A}" dt="2022-02-21T20:08:27.994" v="1664" actId="1076"/>
          <ac:picMkLst>
            <pc:docMk/>
            <pc:sldMk cId="2549410134" sldId="2146846071"/>
            <ac:picMk id="24590" creationId="{76FF6099-6AF5-477C-AED7-D19BE1DDBF03}"/>
          </ac:picMkLst>
        </pc:picChg>
        <pc:picChg chg="add mod">
          <ac:chgData name="Katerine Schifino" userId="37bb67de-9fcf-4611-888c-7e5b58184a2a" providerId="ADAL" clId="{58C35E70-9B3E-4909-9CC8-3720A011650A}" dt="2022-02-21T20:13:18.961" v="1699" actId="1076"/>
          <ac:picMkLst>
            <pc:docMk/>
            <pc:sldMk cId="2549410134" sldId="2146846071"/>
            <ac:picMk id="24592" creationId="{1586548B-FCE7-4369-9422-9E3710FDE0E2}"/>
          </ac:picMkLst>
        </pc:picChg>
        <pc:picChg chg="add del mod">
          <ac:chgData name="Katerine Schifino" userId="37bb67de-9fcf-4611-888c-7e5b58184a2a" providerId="ADAL" clId="{58C35E70-9B3E-4909-9CC8-3720A011650A}" dt="2022-02-21T20:10:24.830" v="1696" actId="478"/>
          <ac:picMkLst>
            <pc:docMk/>
            <pc:sldMk cId="2549410134" sldId="2146846071"/>
            <ac:picMk id="24594" creationId="{F37669F9-8B56-4200-8345-A530B5FEA4CC}"/>
          </ac:picMkLst>
        </pc:picChg>
        <pc:picChg chg="add del">
          <ac:chgData name="Katerine Schifino" userId="37bb67de-9fcf-4611-888c-7e5b58184a2a" providerId="ADAL" clId="{58C35E70-9B3E-4909-9CC8-3720A011650A}" dt="2022-02-21T20:12:09.635" v="1698" actId="478"/>
          <ac:picMkLst>
            <pc:docMk/>
            <pc:sldMk cId="2549410134" sldId="2146846071"/>
            <ac:picMk id="24596" creationId="{A2DE651A-B2D6-4309-9572-0CCB369E4229}"/>
          </ac:picMkLst>
        </pc:picChg>
      </pc:sldChg>
      <pc:sldChg chg="modSp add mod">
        <pc:chgData name="Katerine Schifino" userId="37bb67de-9fcf-4611-888c-7e5b58184a2a" providerId="ADAL" clId="{58C35E70-9B3E-4909-9CC8-3720A011650A}" dt="2022-02-21T16:41:24.463" v="242" actId="403"/>
        <pc:sldMkLst>
          <pc:docMk/>
          <pc:sldMk cId="3524774641" sldId="2146846072"/>
        </pc:sldMkLst>
        <pc:spChg chg="mod">
          <ac:chgData name="Katerine Schifino" userId="37bb67de-9fcf-4611-888c-7e5b58184a2a" providerId="ADAL" clId="{58C35E70-9B3E-4909-9CC8-3720A011650A}" dt="2022-02-21T16:41:24.463" v="242" actId="403"/>
          <ac:spMkLst>
            <pc:docMk/>
            <pc:sldMk cId="3524774641" sldId="2146846072"/>
            <ac:spMk id="2" creationId="{C0E9A057-F805-4750-9C97-49B491EDA40C}"/>
          </ac:spMkLst>
        </pc:spChg>
        <pc:spChg chg="mod">
          <ac:chgData name="Katerine Schifino" userId="37bb67de-9fcf-4611-888c-7e5b58184a2a" providerId="ADAL" clId="{58C35E70-9B3E-4909-9CC8-3720A011650A}" dt="2022-02-21T16:40:43.553" v="234" actId="20577"/>
          <ac:spMkLst>
            <pc:docMk/>
            <pc:sldMk cId="3524774641" sldId="2146846072"/>
            <ac:spMk id="3" creationId="{F4A95292-C17D-4596-AC2A-D617A46EBAA8}"/>
          </ac:spMkLst>
        </pc:spChg>
      </pc:sldChg>
      <pc:sldChg chg="addSp delSp modSp add mod">
        <pc:chgData name="Katerine Schifino" userId="37bb67de-9fcf-4611-888c-7e5b58184a2a" providerId="ADAL" clId="{58C35E70-9B3E-4909-9CC8-3720A011650A}" dt="2022-02-21T17:34:11.693" v="754" actId="465"/>
        <pc:sldMkLst>
          <pc:docMk/>
          <pc:sldMk cId="3793491072" sldId="2146846073"/>
        </pc:sldMkLst>
        <pc:spChg chg="add mod ord">
          <ac:chgData name="Katerine Schifino" userId="37bb67de-9fcf-4611-888c-7e5b58184a2a" providerId="ADAL" clId="{58C35E70-9B3E-4909-9CC8-3720A011650A}" dt="2022-02-21T17:33:16.901" v="626" actId="1076"/>
          <ac:spMkLst>
            <pc:docMk/>
            <pc:sldMk cId="3793491072" sldId="2146846073"/>
            <ac:spMk id="2" creationId="{7D1E7581-7C4D-4F3D-B72D-B1CC3F8D661A}"/>
          </ac:spMkLst>
        </pc:spChg>
        <pc:spChg chg="add 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3" creationId="{ECC28DE0-D80C-4C93-BADC-8B952BE33F60}"/>
          </ac:spMkLst>
        </pc:spChg>
        <pc:spChg chg="add 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4" creationId="{3EAC8774-2EB2-4E56-A5AC-464AAA17B343}"/>
          </ac:spMkLst>
        </pc:spChg>
        <pc:spChg chg="add mod ord">
          <ac:chgData name="Katerine Schifino" userId="37bb67de-9fcf-4611-888c-7e5b58184a2a" providerId="ADAL" clId="{58C35E70-9B3E-4909-9CC8-3720A011650A}" dt="2022-02-21T17:33:13.517" v="625" actId="1076"/>
          <ac:spMkLst>
            <pc:docMk/>
            <pc:sldMk cId="3793491072" sldId="2146846073"/>
            <ac:spMk id="5" creationId="{2E8278F1-F447-4967-873C-C06978C96C2E}"/>
          </ac:spMkLst>
        </pc:spChg>
        <pc:spChg chg="add del mod">
          <ac:chgData name="Katerine Schifino" userId="37bb67de-9fcf-4611-888c-7e5b58184a2a" providerId="ADAL" clId="{58C35E70-9B3E-4909-9CC8-3720A011650A}" dt="2022-02-21T17:29:41.151" v="569" actId="478"/>
          <ac:spMkLst>
            <pc:docMk/>
            <pc:sldMk cId="3793491072" sldId="2146846073"/>
            <ac:spMk id="7" creationId="{1BB35ADD-6FCF-417D-93B9-EE6F27ACA147}"/>
          </ac:spMkLst>
        </pc:spChg>
        <pc:spChg chg="add mod ord">
          <ac:chgData name="Katerine Schifino" userId="37bb67de-9fcf-4611-888c-7e5b58184a2a" providerId="ADAL" clId="{58C35E70-9B3E-4909-9CC8-3720A011650A}" dt="2022-02-21T17:33:00.706" v="621" actId="1076"/>
          <ac:spMkLst>
            <pc:docMk/>
            <pc:sldMk cId="3793491072" sldId="2146846073"/>
            <ac:spMk id="8" creationId="{75811886-FB9B-4A63-8A04-80B055F67E06}"/>
          </ac:spMkLst>
        </pc:spChg>
        <pc:spChg chg="add mod or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9" creationId="{2753F1A8-3F72-467D-AA69-BE3F7F2AB667}"/>
          </ac:spMkLst>
        </pc:spChg>
        <pc:spChg chg="mod">
          <ac:chgData name="Katerine Schifino" userId="37bb67de-9fcf-4611-888c-7e5b58184a2a" providerId="ADAL" clId="{58C35E70-9B3E-4909-9CC8-3720A011650A}" dt="2022-02-21T17:01:54.480" v="349" actId="20577"/>
          <ac:spMkLst>
            <pc:docMk/>
            <pc:sldMk cId="3793491072" sldId="2146846073"/>
            <ac:spMk id="10" creationId="{5FEBD768-6CBB-4D42-B186-30EDCE4EE10B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13" creationId="{FA62B380-3518-47F2-BC28-1063D267A369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14" creationId="{EDDA3CBE-C062-4919-BD9D-92B57C9B9316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16" creationId="{09CAA486-60FD-49E0-8AEB-E77A044B6783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17" creationId="{9BD7DE2B-43B1-49FA-A273-07047ABC6A90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19" creationId="{EECDE2B8-550A-48A0-854B-2CEF3E8D263B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20" creationId="{B3065D60-ACD5-4354-B67A-FDFBF4CDE095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22" creationId="{A43A33CE-B388-4202-B64D-596FC2E53C71}"/>
          </ac:spMkLst>
        </pc:spChg>
        <pc:spChg chg="mod">
          <ac:chgData name="Katerine Schifino" userId="37bb67de-9fcf-4611-888c-7e5b58184a2a" providerId="ADAL" clId="{58C35E70-9B3E-4909-9CC8-3720A011650A}" dt="2022-02-21T17:32:45.624" v="617" actId="403"/>
          <ac:spMkLst>
            <pc:docMk/>
            <pc:sldMk cId="3793491072" sldId="2146846073"/>
            <ac:spMk id="23" creationId="{9A25CE19-2925-4B65-B33D-3D12060DDE32}"/>
          </ac:spMkLst>
        </pc:spChg>
        <pc:spChg chg="add mod">
          <ac:chgData name="Katerine Schifino" userId="37bb67de-9fcf-4611-888c-7e5b58184a2a" providerId="ADAL" clId="{58C35E70-9B3E-4909-9CC8-3720A011650A}" dt="2022-02-21T17:33:05.668" v="623" actId="14100"/>
          <ac:spMkLst>
            <pc:docMk/>
            <pc:sldMk cId="3793491072" sldId="2146846073"/>
            <ac:spMk id="24" creationId="{B8AF4EFE-E8FB-40F7-9837-1CF26F2E0C41}"/>
          </ac:spMkLst>
        </pc:spChg>
        <pc:grpChg chg="add mod">
          <ac:chgData name="Katerine Schifino" userId="37bb67de-9fcf-4611-888c-7e5b58184a2a" providerId="ADAL" clId="{58C35E70-9B3E-4909-9CC8-3720A011650A}" dt="2022-02-21T17:32:28.728" v="615" actId="164"/>
          <ac:grpSpMkLst>
            <pc:docMk/>
            <pc:sldMk cId="3793491072" sldId="2146846073"/>
            <ac:grpSpMk id="11" creationId="{EB8D5658-1CF4-47FF-9ABD-765E3795EDA8}"/>
          </ac:grpSpMkLst>
        </pc:grpChg>
        <pc:grpChg chg="add mod">
          <ac:chgData name="Katerine Schifino" userId="37bb67de-9fcf-4611-888c-7e5b58184a2a" providerId="ADAL" clId="{58C35E70-9B3E-4909-9CC8-3720A011650A}" dt="2022-02-21T17:32:26.372" v="614" actId="164"/>
          <ac:grpSpMkLst>
            <pc:docMk/>
            <pc:sldMk cId="3793491072" sldId="2146846073"/>
            <ac:grpSpMk id="12" creationId="{B271CF2D-A899-49F4-BE06-382E4DE7B654}"/>
          </ac:grpSpMkLst>
        </pc:grpChg>
        <pc:grpChg chg="add mod">
          <ac:chgData name="Katerine Schifino" userId="37bb67de-9fcf-4611-888c-7e5b58184a2a" providerId="ADAL" clId="{58C35E70-9B3E-4909-9CC8-3720A011650A}" dt="2022-02-21T17:32:23.223" v="613" actId="164"/>
          <ac:grpSpMkLst>
            <pc:docMk/>
            <pc:sldMk cId="3793491072" sldId="2146846073"/>
            <ac:grpSpMk id="15" creationId="{CC95DCEF-9A72-4893-A668-D53F6E5AA831}"/>
          </ac:grpSpMkLst>
        </pc:grpChg>
        <pc:grpChg chg="add mod">
          <ac:chgData name="Katerine Schifino" userId="37bb67de-9fcf-4611-888c-7e5b58184a2a" providerId="ADAL" clId="{58C35E70-9B3E-4909-9CC8-3720A011650A}" dt="2022-02-21T17:32:18.830" v="612" actId="164"/>
          <ac:grpSpMkLst>
            <pc:docMk/>
            <pc:sldMk cId="3793491072" sldId="2146846073"/>
            <ac:grpSpMk id="18" creationId="{06FB4323-A6FF-4DD9-9485-4D561852F86D}"/>
          </ac:grpSpMkLst>
        </pc:grpChg>
        <pc:grpChg chg="add mod">
          <ac:chgData name="Katerine Schifino" userId="37bb67de-9fcf-4611-888c-7e5b58184a2a" providerId="ADAL" clId="{58C35E70-9B3E-4909-9CC8-3720A011650A}" dt="2022-02-21T17:32:16.740" v="611" actId="164"/>
          <ac:grpSpMkLst>
            <pc:docMk/>
            <pc:sldMk cId="3793491072" sldId="2146846073"/>
            <ac:grpSpMk id="21" creationId="{64918B2F-ED0D-4F3E-863E-5CE59687F0EF}"/>
          </ac:grpSpMkLst>
        </pc:grpChg>
        <pc:grpChg chg="add mod">
          <ac:chgData name="Katerine Schifino" userId="37bb67de-9fcf-4611-888c-7e5b58184a2a" providerId="ADAL" clId="{58C35E70-9B3E-4909-9CC8-3720A011650A}" dt="2022-02-21T17:34:05.600" v="753" actId="1036"/>
          <ac:grpSpMkLst>
            <pc:docMk/>
            <pc:sldMk cId="3793491072" sldId="2146846073"/>
            <ac:grpSpMk id="25" creationId="{4737819D-3287-4FD8-A426-4038FC5244D0}"/>
          </ac:grpSpMkLst>
        </pc:grpChg>
        <pc:grpChg chg="add mod">
          <ac:chgData name="Katerine Schifino" userId="37bb67de-9fcf-4611-888c-7e5b58184a2a" providerId="ADAL" clId="{58C35E70-9B3E-4909-9CC8-3720A011650A}" dt="2022-02-21T17:34:11.693" v="754" actId="465"/>
          <ac:grpSpMkLst>
            <pc:docMk/>
            <pc:sldMk cId="3793491072" sldId="2146846073"/>
            <ac:grpSpMk id="26" creationId="{8CA50F32-EBEF-4061-B4CF-E9A6A7CD74A4}"/>
          </ac:grpSpMkLst>
        </pc:grpChg>
        <pc:grpChg chg="add mod">
          <ac:chgData name="Katerine Schifino" userId="37bb67de-9fcf-4611-888c-7e5b58184a2a" providerId="ADAL" clId="{58C35E70-9B3E-4909-9CC8-3720A011650A}" dt="2022-02-21T17:34:11.693" v="754" actId="465"/>
          <ac:grpSpMkLst>
            <pc:docMk/>
            <pc:sldMk cId="3793491072" sldId="2146846073"/>
            <ac:grpSpMk id="27" creationId="{F7CA5E9D-AAAD-4A3F-A38D-A4641DD53A50}"/>
          </ac:grpSpMkLst>
        </pc:grpChg>
        <pc:grpChg chg="add mod">
          <ac:chgData name="Katerine Schifino" userId="37bb67de-9fcf-4611-888c-7e5b58184a2a" providerId="ADAL" clId="{58C35E70-9B3E-4909-9CC8-3720A011650A}" dt="2022-02-21T17:34:11.693" v="754" actId="465"/>
          <ac:grpSpMkLst>
            <pc:docMk/>
            <pc:sldMk cId="3793491072" sldId="2146846073"/>
            <ac:grpSpMk id="28" creationId="{A9C3CC64-0226-4375-86E6-A7E4925D6A30}"/>
          </ac:grpSpMkLst>
        </pc:grpChg>
        <pc:grpChg chg="add mod">
          <ac:chgData name="Katerine Schifino" userId="37bb67de-9fcf-4611-888c-7e5b58184a2a" providerId="ADAL" clId="{58C35E70-9B3E-4909-9CC8-3720A011650A}" dt="2022-02-21T17:33:50.270" v="738" actId="1037"/>
          <ac:grpSpMkLst>
            <pc:docMk/>
            <pc:sldMk cId="3793491072" sldId="2146846073"/>
            <ac:grpSpMk id="29" creationId="{E52FC0A8-3EB5-4652-AD8B-1EE657854A4C}"/>
          </ac:grpSpMkLst>
        </pc:grpChg>
        <pc:picChg chg="del mod">
          <ac:chgData name="Katerine Schifino" userId="37bb67de-9fcf-4611-888c-7e5b58184a2a" providerId="ADAL" clId="{58C35E70-9B3E-4909-9CC8-3720A011650A}" dt="2022-02-21T17:25:17.171" v="493" actId="478"/>
          <ac:picMkLst>
            <pc:docMk/>
            <pc:sldMk cId="3793491072" sldId="2146846073"/>
            <ac:picMk id="6" creationId="{1BD37B16-FFCA-4A46-9EF7-42730F41E1F4}"/>
          </ac:picMkLst>
        </pc:picChg>
      </pc:sldChg>
      <pc:sldChg chg="addSp delSp add del mod">
        <pc:chgData name="Katerine Schifino" userId="37bb67de-9fcf-4611-888c-7e5b58184a2a" providerId="ADAL" clId="{58C35E70-9B3E-4909-9CC8-3720A011650A}" dt="2022-02-21T17:34:54.295" v="759" actId="47"/>
        <pc:sldMkLst>
          <pc:docMk/>
          <pc:sldMk cId="3182343670" sldId="2146846074"/>
        </pc:sldMkLst>
        <pc:spChg chg="add">
          <ac:chgData name="Katerine Schifino" userId="37bb67de-9fcf-4611-888c-7e5b58184a2a" providerId="ADAL" clId="{58C35E70-9B3E-4909-9CC8-3720A011650A}" dt="2022-02-21T17:34:35.677" v="758" actId="11529"/>
          <ac:spMkLst>
            <pc:docMk/>
            <pc:sldMk cId="3182343670" sldId="2146846074"/>
            <ac:spMk id="6" creationId="{B644A6CA-D973-41D2-910D-BF5B3F20D50C}"/>
          </ac:spMkLst>
        </pc:spChg>
        <pc:grpChg chg="add del">
          <ac:chgData name="Katerine Schifino" userId="37bb67de-9fcf-4611-888c-7e5b58184a2a" providerId="ADAL" clId="{58C35E70-9B3E-4909-9CC8-3720A011650A}" dt="2022-02-21T17:34:20.322" v="757" actId="478"/>
          <ac:grpSpMkLst>
            <pc:docMk/>
            <pc:sldMk cId="3182343670" sldId="2146846074"/>
            <ac:grpSpMk id="25" creationId="{4737819D-3287-4FD8-A426-4038FC5244D0}"/>
          </ac:grpSpMkLst>
        </pc:grpChg>
        <pc:grpChg chg="add del">
          <ac:chgData name="Katerine Schifino" userId="37bb67de-9fcf-4611-888c-7e5b58184a2a" providerId="ADAL" clId="{58C35E70-9B3E-4909-9CC8-3720A011650A}" dt="2022-02-21T17:34:20.322" v="757" actId="478"/>
          <ac:grpSpMkLst>
            <pc:docMk/>
            <pc:sldMk cId="3182343670" sldId="2146846074"/>
            <ac:grpSpMk id="26" creationId="{8CA50F32-EBEF-4061-B4CF-E9A6A7CD74A4}"/>
          </ac:grpSpMkLst>
        </pc:grpChg>
        <pc:grpChg chg="add del">
          <ac:chgData name="Katerine Schifino" userId="37bb67de-9fcf-4611-888c-7e5b58184a2a" providerId="ADAL" clId="{58C35E70-9B3E-4909-9CC8-3720A011650A}" dt="2022-02-21T17:34:20.322" v="757" actId="478"/>
          <ac:grpSpMkLst>
            <pc:docMk/>
            <pc:sldMk cId="3182343670" sldId="2146846074"/>
            <ac:grpSpMk id="27" creationId="{F7CA5E9D-AAAD-4A3F-A38D-A4641DD53A50}"/>
          </ac:grpSpMkLst>
        </pc:grpChg>
        <pc:grpChg chg="add del">
          <ac:chgData name="Katerine Schifino" userId="37bb67de-9fcf-4611-888c-7e5b58184a2a" providerId="ADAL" clId="{58C35E70-9B3E-4909-9CC8-3720A011650A}" dt="2022-02-21T17:34:20.322" v="757" actId="478"/>
          <ac:grpSpMkLst>
            <pc:docMk/>
            <pc:sldMk cId="3182343670" sldId="2146846074"/>
            <ac:grpSpMk id="28" creationId="{A9C3CC64-0226-4375-86E6-A7E4925D6A30}"/>
          </ac:grpSpMkLst>
        </pc:grpChg>
      </pc:sldChg>
      <pc:sldChg chg="addSp delSp modSp add mod">
        <pc:chgData name="Katerine Schifino" userId="37bb67de-9fcf-4611-888c-7e5b58184a2a" providerId="ADAL" clId="{58C35E70-9B3E-4909-9CC8-3720A011650A}" dt="2022-02-21T21:16:39.615" v="2599" actId="1076"/>
        <pc:sldMkLst>
          <pc:docMk/>
          <pc:sldMk cId="3342687271" sldId="2146846074"/>
        </pc:sldMkLst>
        <pc:spChg chg="add del mod">
          <ac:chgData name="Katerine Schifino" userId="37bb67de-9fcf-4611-888c-7e5b58184a2a" providerId="ADAL" clId="{58C35E70-9B3E-4909-9CC8-3720A011650A}" dt="2022-02-21T20:34:07.426" v="1918" actId="1035"/>
          <ac:spMkLst>
            <pc:docMk/>
            <pc:sldMk cId="3342687271" sldId="2146846074"/>
            <ac:spMk id="30" creationId="{96175DBC-EF98-4269-9912-6AFF58CC975F}"/>
          </ac:spMkLst>
        </pc:spChg>
        <pc:spChg chg="add del mod">
          <ac:chgData name="Katerine Schifino" userId="37bb67de-9fcf-4611-888c-7e5b58184a2a" providerId="ADAL" clId="{58C35E70-9B3E-4909-9CC8-3720A011650A}" dt="2022-02-21T20:34:07.426" v="1918" actId="1035"/>
          <ac:spMkLst>
            <pc:docMk/>
            <pc:sldMk cId="3342687271" sldId="2146846074"/>
            <ac:spMk id="31" creationId="{C023A83F-3A10-4785-9C83-3A0A245274F1}"/>
          </ac:spMkLst>
        </pc:spChg>
        <pc:spChg chg="add del mod">
          <ac:chgData name="Katerine Schifino" userId="37bb67de-9fcf-4611-888c-7e5b58184a2a" providerId="ADAL" clId="{58C35E70-9B3E-4909-9CC8-3720A011650A}" dt="2022-02-21T20:34:07.426" v="1918" actId="1035"/>
          <ac:spMkLst>
            <pc:docMk/>
            <pc:sldMk cId="3342687271" sldId="2146846074"/>
            <ac:spMk id="32" creationId="{1CB52CE4-5AA4-4F93-AE4F-7832F62BAB38}"/>
          </ac:spMkLst>
        </pc:spChg>
        <pc:spChg chg="add del mod">
          <ac:chgData name="Katerine Schifino" userId="37bb67de-9fcf-4611-888c-7e5b58184a2a" providerId="ADAL" clId="{58C35E70-9B3E-4909-9CC8-3720A011650A}" dt="2022-02-21T20:34:07.426" v="1918" actId="1035"/>
          <ac:spMkLst>
            <pc:docMk/>
            <pc:sldMk cId="3342687271" sldId="2146846074"/>
            <ac:spMk id="33" creationId="{FE0DC58E-9260-4BDE-A300-EA656C4498D0}"/>
          </ac:spMkLst>
        </pc:spChg>
        <pc:spChg chg="add mod">
          <ac:chgData name="Katerine Schifino" userId="37bb67de-9fcf-4611-888c-7e5b58184a2a" providerId="ADAL" clId="{58C35E70-9B3E-4909-9CC8-3720A011650A}" dt="2022-02-21T21:16:34.073" v="2597" actId="14100"/>
          <ac:spMkLst>
            <pc:docMk/>
            <pc:sldMk cId="3342687271" sldId="2146846074"/>
            <ac:spMk id="35" creationId="{77D14B14-1255-4834-823A-253A1AEA044A}"/>
          </ac:spMkLst>
        </pc:spChg>
        <pc:spChg chg="add del mod">
          <ac:chgData name="Katerine Schifino" userId="37bb67de-9fcf-4611-888c-7e5b58184a2a" providerId="ADAL" clId="{58C35E70-9B3E-4909-9CC8-3720A011650A}" dt="2022-02-21T17:44:20.179" v="862" actId="478"/>
          <ac:spMkLst>
            <pc:docMk/>
            <pc:sldMk cId="3342687271" sldId="2146846074"/>
            <ac:spMk id="36" creationId="{951A8766-D421-4F14-A74B-EFA6B26773F8}"/>
          </ac:spMkLst>
        </pc:spChg>
        <pc:spChg chg="add mod">
          <ac:chgData name="Katerine Schifino" userId="37bb67de-9fcf-4611-888c-7e5b58184a2a" providerId="ADAL" clId="{58C35E70-9B3E-4909-9CC8-3720A011650A}" dt="2022-02-21T21:16:37.373" v="2598" actId="1076"/>
          <ac:spMkLst>
            <pc:docMk/>
            <pc:sldMk cId="3342687271" sldId="2146846074"/>
            <ac:spMk id="38" creationId="{225527A3-72E2-4021-82D0-CFB6F9D5109D}"/>
          </ac:spMkLst>
        </pc:spChg>
        <pc:spChg chg="add mod">
          <ac:chgData name="Katerine Schifino" userId="37bb67de-9fcf-4611-888c-7e5b58184a2a" providerId="ADAL" clId="{58C35E70-9B3E-4909-9CC8-3720A011650A}" dt="2022-02-21T21:16:39.615" v="2599" actId="1076"/>
          <ac:spMkLst>
            <pc:docMk/>
            <pc:sldMk cId="3342687271" sldId="2146846074"/>
            <ac:spMk id="40" creationId="{AC62EF07-EC7D-4E44-91A3-E8FE1BCAEF67}"/>
          </ac:spMkLst>
        </pc:spChg>
        <pc:spChg chg="mod">
          <ac:chgData name="Katerine Schifino" userId="37bb67de-9fcf-4611-888c-7e5b58184a2a" providerId="ADAL" clId="{58C35E70-9B3E-4909-9CC8-3720A011650A}" dt="2022-02-21T17:55:26.627" v="950"/>
          <ac:spMkLst>
            <pc:docMk/>
            <pc:sldMk cId="3342687271" sldId="2146846074"/>
            <ac:spMk id="43" creationId="{6FC3429E-FBDA-43CA-9C9B-5D3BB2BFE4FE}"/>
          </ac:spMkLst>
        </pc:spChg>
        <pc:spChg chg="mod">
          <ac:chgData name="Katerine Schifino" userId="37bb67de-9fcf-4611-888c-7e5b58184a2a" providerId="ADAL" clId="{58C35E70-9B3E-4909-9CC8-3720A011650A}" dt="2022-02-21T21:11:47.825" v="2555" actId="14100"/>
          <ac:spMkLst>
            <pc:docMk/>
            <pc:sldMk cId="3342687271" sldId="2146846074"/>
            <ac:spMk id="44" creationId="{0CFABD67-F497-41F4-9063-5B09667B9736}"/>
          </ac:spMkLst>
        </pc:spChg>
        <pc:spChg chg="mod">
          <ac:chgData name="Katerine Schifino" userId="37bb67de-9fcf-4611-888c-7e5b58184a2a" providerId="ADAL" clId="{58C35E70-9B3E-4909-9CC8-3720A011650A}" dt="2022-02-21T17:55:26.627" v="950"/>
          <ac:spMkLst>
            <pc:docMk/>
            <pc:sldMk cId="3342687271" sldId="2146846074"/>
            <ac:spMk id="45" creationId="{EA5C77CF-57AB-4443-B436-90435E539A57}"/>
          </ac:spMkLst>
        </pc:spChg>
        <pc:grpChg chg="del">
          <ac:chgData name="Katerine Schifino" userId="37bb67de-9fcf-4611-888c-7e5b58184a2a" providerId="ADAL" clId="{58C35E70-9B3E-4909-9CC8-3720A011650A}" dt="2022-02-21T17:34:59.185" v="761" actId="478"/>
          <ac:grpSpMkLst>
            <pc:docMk/>
            <pc:sldMk cId="3342687271" sldId="2146846074"/>
            <ac:grpSpMk id="25" creationId="{4737819D-3287-4FD8-A426-4038FC5244D0}"/>
          </ac:grpSpMkLst>
        </pc:grpChg>
        <pc:grpChg chg="del">
          <ac:chgData name="Katerine Schifino" userId="37bb67de-9fcf-4611-888c-7e5b58184a2a" providerId="ADAL" clId="{58C35E70-9B3E-4909-9CC8-3720A011650A}" dt="2022-02-21T17:34:59.185" v="761" actId="478"/>
          <ac:grpSpMkLst>
            <pc:docMk/>
            <pc:sldMk cId="3342687271" sldId="2146846074"/>
            <ac:grpSpMk id="26" creationId="{8CA50F32-EBEF-4061-B4CF-E9A6A7CD74A4}"/>
          </ac:grpSpMkLst>
        </pc:grpChg>
        <pc:grpChg chg="del">
          <ac:chgData name="Katerine Schifino" userId="37bb67de-9fcf-4611-888c-7e5b58184a2a" providerId="ADAL" clId="{58C35E70-9B3E-4909-9CC8-3720A011650A}" dt="2022-02-21T17:34:59.185" v="761" actId="478"/>
          <ac:grpSpMkLst>
            <pc:docMk/>
            <pc:sldMk cId="3342687271" sldId="2146846074"/>
            <ac:grpSpMk id="27" creationId="{F7CA5E9D-AAAD-4A3F-A38D-A4641DD53A50}"/>
          </ac:grpSpMkLst>
        </pc:grpChg>
        <pc:grpChg chg="del">
          <ac:chgData name="Katerine Schifino" userId="37bb67de-9fcf-4611-888c-7e5b58184a2a" providerId="ADAL" clId="{58C35E70-9B3E-4909-9CC8-3720A011650A}" dt="2022-02-21T17:34:59.185" v="761" actId="478"/>
          <ac:grpSpMkLst>
            <pc:docMk/>
            <pc:sldMk cId="3342687271" sldId="2146846074"/>
            <ac:grpSpMk id="28" creationId="{A9C3CC64-0226-4375-86E6-A7E4925D6A30}"/>
          </ac:grpSpMkLst>
        </pc:grpChg>
        <pc:grpChg chg="del mod">
          <ac:chgData name="Katerine Schifino" userId="37bb67de-9fcf-4611-888c-7e5b58184a2a" providerId="ADAL" clId="{58C35E70-9B3E-4909-9CC8-3720A011650A}" dt="2022-02-21T17:55:26.138" v="949" actId="478"/>
          <ac:grpSpMkLst>
            <pc:docMk/>
            <pc:sldMk cId="3342687271" sldId="2146846074"/>
            <ac:grpSpMk id="29" creationId="{E52FC0A8-3EB5-4652-AD8B-1EE657854A4C}"/>
          </ac:grpSpMkLst>
        </pc:grpChg>
        <pc:grpChg chg="add mod">
          <ac:chgData name="Katerine Schifino" userId="37bb67de-9fcf-4611-888c-7e5b58184a2a" providerId="ADAL" clId="{58C35E70-9B3E-4909-9CC8-3720A011650A}" dt="2022-02-21T20:34:07.426" v="1918" actId="1035"/>
          <ac:grpSpMkLst>
            <pc:docMk/>
            <pc:sldMk cId="3342687271" sldId="2146846074"/>
            <ac:grpSpMk id="41" creationId="{46F068F2-C604-43ED-AF9F-C341F7C3D486}"/>
          </ac:grpSpMkLst>
        </pc:grpChg>
        <pc:grpChg chg="mod">
          <ac:chgData name="Katerine Schifino" userId="37bb67de-9fcf-4611-888c-7e5b58184a2a" providerId="ADAL" clId="{58C35E70-9B3E-4909-9CC8-3720A011650A}" dt="2022-02-21T17:55:26.627" v="950"/>
          <ac:grpSpMkLst>
            <pc:docMk/>
            <pc:sldMk cId="3342687271" sldId="2146846074"/>
            <ac:grpSpMk id="42" creationId="{FBF12FDC-7EA0-4BB1-829C-FFC1AA20C62B}"/>
          </ac:grpSpMkLst>
        </pc:grpChg>
        <pc:picChg chg="add del mod">
          <ac:chgData name="Katerine Schifino" userId="37bb67de-9fcf-4611-888c-7e5b58184a2a" providerId="ADAL" clId="{58C35E70-9B3E-4909-9CC8-3720A011650A}" dt="2022-02-21T17:37:06.111" v="790" actId="478"/>
          <ac:picMkLst>
            <pc:docMk/>
            <pc:sldMk cId="3342687271" sldId="2146846074"/>
            <ac:picMk id="7" creationId="{140A4947-5832-42F7-BC1D-23AB6181C4FF}"/>
          </ac:picMkLst>
        </pc:picChg>
      </pc:sldChg>
      <pc:sldChg chg="addSp delSp modSp add mod">
        <pc:chgData name="Katerine Schifino" userId="37bb67de-9fcf-4611-888c-7e5b58184a2a" providerId="ADAL" clId="{58C35E70-9B3E-4909-9CC8-3720A011650A}" dt="2022-02-21T21:11:41.867" v="2554" actId="14100"/>
        <pc:sldMkLst>
          <pc:docMk/>
          <pc:sldMk cId="4129277709" sldId="2146846075"/>
        </pc:sldMkLst>
        <pc:spChg chg="mod">
          <ac:chgData name="Katerine Schifino" userId="37bb67de-9fcf-4611-888c-7e5b58184a2a" providerId="ADAL" clId="{58C35E70-9B3E-4909-9CC8-3720A011650A}" dt="2022-02-21T17:38:15.162" v="803"/>
          <ac:spMkLst>
            <pc:docMk/>
            <pc:sldMk cId="4129277709" sldId="2146846075"/>
            <ac:spMk id="2" creationId="{7D1E7581-7C4D-4F3D-B72D-B1CC3F8D661A}"/>
          </ac:spMkLst>
        </pc:spChg>
        <pc:spChg chg="mod">
          <ac:chgData name="Katerine Schifino" userId="37bb67de-9fcf-4611-888c-7e5b58184a2a" providerId="ADAL" clId="{58C35E70-9B3E-4909-9CC8-3720A011650A}" dt="2022-02-21T21:11:41.867" v="2554" actId="14100"/>
          <ac:spMkLst>
            <pc:docMk/>
            <pc:sldMk cId="4129277709" sldId="2146846075"/>
            <ac:spMk id="3" creationId="{ECC28DE0-D80C-4C93-BADC-8B952BE33F60}"/>
          </ac:spMkLst>
        </pc:spChg>
        <pc:spChg chg="mod">
          <ac:chgData name="Katerine Schifino" userId="37bb67de-9fcf-4611-888c-7e5b58184a2a" providerId="ADAL" clId="{58C35E70-9B3E-4909-9CC8-3720A011650A}" dt="2022-02-21T17:38:32.665" v="808" actId="207"/>
          <ac:spMkLst>
            <pc:docMk/>
            <pc:sldMk cId="4129277709" sldId="2146846075"/>
            <ac:spMk id="4" creationId="{3EAC8774-2EB2-4E56-A5AC-464AAA17B343}"/>
          </ac:spMkLst>
        </pc:spChg>
        <pc:spChg chg="add mod">
          <ac:chgData name="Katerine Schifino" userId="37bb67de-9fcf-4611-888c-7e5b58184a2a" providerId="ADAL" clId="{58C35E70-9B3E-4909-9CC8-3720A011650A}" dt="2022-02-21T20:40:07.731" v="2040" actId="164"/>
          <ac:spMkLst>
            <pc:docMk/>
            <pc:sldMk cId="4129277709" sldId="2146846075"/>
            <ac:spMk id="12" creationId="{2DE1F437-0656-4E73-9497-145F183F1EA0}"/>
          </ac:spMkLst>
        </pc:spChg>
        <pc:spChg chg="add mod">
          <ac:chgData name="Katerine Schifino" userId="37bb67de-9fcf-4611-888c-7e5b58184a2a" providerId="ADAL" clId="{58C35E70-9B3E-4909-9CC8-3720A011650A}" dt="2022-02-21T20:40:14.519" v="2050" actId="164"/>
          <ac:spMkLst>
            <pc:docMk/>
            <pc:sldMk cId="4129277709" sldId="2146846075"/>
            <ac:spMk id="13" creationId="{FF0B91B8-DD57-428B-ACAB-A4D29EDAE629}"/>
          </ac:spMkLst>
        </pc:spChg>
        <pc:spChg chg="add mod">
          <ac:chgData name="Katerine Schifino" userId="37bb67de-9fcf-4611-888c-7e5b58184a2a" providerId="ADAL" clId="{58C35E70-9B3E-4909-9CC8-3720A011650A}" dt="2022-02-21T20:40:18.234" v="2051" actId="164"/>
          <ac:spMkLst>
            <pc:docMk/>
            <pc:sldMk cId="4129277709" sldId="2146846075"/>
            <ac:spMk id="14" creationId="{41E252B9-5DAF-485F-BA2C-75AEB0AED23F}"/>
          </ac:spMkLst>
        </pc:spChg>
        <pc:spChg chg="add mod">
          <ac:chgData name="Katerine Schifino" userId="37bb67de-9fcf-4611-888c-7e5b58184a2a" providerId="ADAL" clId="{58C35E70-9B3E-4909-9CC8-3720A011650A}" dt="2022-02-21T21:10:46.500" v="2547" actId="404"/>
          <ac:spMkLst>
            <pc:docMk/>
            <pc:sldMk cId="4129277709" sldId="2146846075"/>
            <ac:spMk id="18" creationId="{A0519E15-AF6D-48AC-8DB0-FA8912E20122}"/>
          </ac:spMkLst>
        </pc:spChg>
        <pc:spChg chg="mod">
          <ac:chgData name="Katerine Schifino" userId="37bb67de-9fcf-4611-888c-7e5b58184a2a" providerId="ADAL" clId="{58C35E70-9B3E-4909-9CC8-3720A011650A}" dt="2022-02-21T20:34:27.630" v="1922"/>
          <ac:spMkLst>
            <pc:docMk/>
            <pc:sldMk cId="4129277709" sldId="2146846075"/>
            <ac:spMk id="21" creationId="{5EA17691-B29A-4872-8712-8320D26AAA79}"/>
          </ac:spMkLst>
        </pc:spChg>
        <pc:spChg chg="mod">
          <ac:chgData name="Katerine Schifino" userId="37bb67de-9fcf-4611-888c-7e5b58184a2a" providerId="ADAL" clId="{58C35E70-9B3E-4909-9CC8-3720A011650A}" dt="2022-02-21T20:34:27.630" v="1922"/>
          <ac:spMkLst>
            <pc:docMk/>
            <pc:sldMk cId="4129277709" sldId="2146846075"/>
            <ac:spMk id="22" creationId="{8F58F935-0B15-401A-877F-5FAB33729A1E}"/>
          </ac:spMkLst>
        </pc:spChg>
        <pc:spChg chg="mod">
          <ac:chgData name="Katerine Schifino" userId="37bb67de-9fcf-4611-888c-7e5b58184a2a" providerId="ADAL" clId="{58C35E70-9B3E-4909-9CC8-3720A011650A}" dt="2022-02-21T20:34:27.630" v="1922"/>
          <ac:spMkLst>
            <pc:docMk/>
            <pc:sldMk cId="4129277709" sldId="2146846075"/>
            <ac:spMk id="23" creationId="{D25AE673-2294-42CF-B24A-9B42F92C9644}"/>
          </ac:spMkLst>
        </pc:spChg>
        <pc:spChg chg="mod">
          <ac:chgData name="Katerine Schifino" userId="37bb67de-9fcf-4611-888c-7e5b58184a2a" providerId="ADAL" clId="{58C35E70-9B3E-4909-9CC8-3720A011650A}" dt="2022-02-21T20:34:37.364" v="1942" actId="1036"/>
          <ac:spMkLst>
            <pc:docMk/>
            <pc:sldMk cId="4129277709" sldId="2146846075"/>
            <ac:spMk id="30" creationId="{96175DBC-EF98-4269-9912-6AFF58CC975F}"/>
          </ac:spMkLst>
        </pc:spChg>
        <pc:spChg chg="mod">
          <ac:chgData name="Katerine Schifino" userId="37bb67de-9fcf-4611-888c-7e5b58184a2a" providerId="ADAL" clId="{58C35E70-9B3E-4909-9CC8-3720A011650A}" dt="2022-02-21T20:34:37.364" v="1942" actId="1036"/>
          <ac:spMkLst>
            <pc:docMk/>
            <pc:sldMk cId="4129277709" sldId="2146846075"/>
            <ac:spMk id="31" creationId="{C023A83F-3A10-4785-9C83-3A0A245274F1}"/>
          </ac:spMkLst>
        </pc:spChg>
        <pc:spChg chg="mod">
          <ac:chgData name="Katerine Schifino" userId="37bb67de-9fcf-4611-888c-7e5b58184a2a" providerId="ADAL" clId="{58C35E70-9B3E-4909-9CC8-3720A011650A}" dt="2022-02-21T20:34:37.364" v="1942" actId="1036"/>
          <ac:spMkLst>
            <pc:docMk/>
            <pc:sldMk cId="4129277709" sldId="2146846075"/>
            <ac:spMk id="32" creationId="{1CB52CE4-5AA4-4F93-AE4F-7832F62BAB38}"/>
          </ac:spMkLst>
        </pc:spChg>
        <pc:spChg chg="mod">
          <ac:chgData name="Katerine Schifino" userId="37bb67de-9fcf-4611-888c-7e5b58184a2a" providerId="ADAL" clId="{58C35E70-9B3E-4909-9CC8-3720A011650A}" dt="2022-02-21T20:34:37.364" v="1942" actId="1036"/>
          <ac:spMkLst>
            <pc:docMk/>
            <pc:sldMk cId="4129277709" sldId="2146846075"/>
            <ac:spMk id="33" creationId="{FE0DC58E-9260-4BDE-A300-EA656C4498D0}"/>
          </ac:spMkLst>
        </pc:spChg>
        <pc:grpChg chg="add mod">
          <ac:chgData name="Katerine Schifino" userId="37bb67de-9fcf-4611-888c-7e5b58184a2a" providerId="ADAL" clId="{58C35E70-9B3E-4909-9CC8-3720A011650A}" dt="2022-02-21T21:10:28.133" v="2543" actId="1076"/>
          <ac:grpSpMkLst>
            <pc:docMk/>
            <pc:sldMk cId="4129277709" sldId="2146846075"/>
            <ac:grpSpMk id="5" creationId="{761B5C9C-3740-460B-9E16-2A8727B432D7}"/>
          </ac:grpSpMkLst>
        </pc:grpChg>
        <pc:grpChg chg="add mod">
          <ac:chgData name="Katerine Schifino" userId="37bb67de-9fcf-4611-888c-7e5b58184a2a" providerId="ADAL" clId="{58C35E70-9B3E-4909-9CC8-3720A011650A}" dt="2022-02-21T21:10:43.932" v="2546" actId="1076"/>
          <ac:grpSpMkLst>
            <pc:docMk/>
            <pc:sldMk cId="4129277709" sldId="2146846075"/>
            <ac:grpSpMk id="6" creationId="{4C85D181-0DEC-4104-8BD4-B2647B2708CF}"/>
          </ac:grpSpMkLst>
        </pc:grpChg>
        <pc:grpChg chg="add mod">
          <ac:chgData name="Katerine Schifino" userId="37bb67de-9fcf-4611-888c-7e5b58184a2a" providerId="ADAL" clId="{58C35E70-9B3E-4909-9CC8-3720A011650A}" dt="2022-02-21T21:10:40.432" v="2545" actId="1076"/>
          <ac:grpSpMkLst>
            <pc:docMk/>
            <pc:sldMk cId="4129277709" sldId="2146846075"/>
            <ac:grpSpMk id="7" creationId="{0E3D677D-911B-4C2E-A70C-A2594CCCE989}"/>
          </ac:grpSpMkLst>
        </pc:grpChg>
        <pc:grpChg chg="add del mod">
          <ac:chgData name="Katerine Schifino" userId="37bb67de-9fcf-4611-888c-7e5b58184a2a" providerId="ADAL" clId="{58C35E70-9B3E-4909-9CC8-3720A011650A}" dt="2022-02-21T20:34:42.064" v="1943" actId="478"/>
          <ac:grpSpMkLst>
            <pc:docMk/>
            <pc:sldMk cId="4129277709" sldId="2146846075"/>
            <ac:grpSpMk id="19" creationId="{3D8EE3E3-9FCC-467D-99A7-6CEE9B79FF1F}"/>
          </ac:grpSpMkLst>
        </pc:grpChg>
        <pc:grpChg chg="mod">
          <ac:chgData name="Katerine Schifino" userId="37bb67de-9fcf-4611-888c-7e5b58184a2a" providerId="ADAL" clId="{58C35E70-9B3E-4909-9CC8-3720A011650A}" dt="2022-02-21T20:34:27.630" v="1922"/>
          <ac:grpSpMkLst>
            <pc:docMk/>
            <pc:sldMk cId="4129277709" sldId="2146846075"/>
            <ac:grpSpMk id="20" creationId="{5F0F5901-19FB-4A63-A7F5-596AC1E3BCAF}"/>
          </ac:grpSpMkLst>
        </pc:grpChg>
        <pc:grpChg chg="mod">
          <ac:chgData name="Katerine Schifino" userId="37bb67de-9fcf-4611-888c-7e5b58184a2a" providerId="ADAL" clId="{58C35E70-9B3E-4909-9CC8-3720A011650A}" dt="2022-02-21T20:34:37.364" v="1942" actId="1036"/>
          <ac:grpSpMkLst>
            <pc:docMk/>
            <pc:sldMk cId="4129277709" sldId="2146846075"/>
            <ac:grpSpMk id="29" creationId="{E52FC0A8-3EB5-4652-AD8B-1EE657854A4C}"/>
          </ac:grpSpMkLst>
        </pc:grpChg>
        <pc:picChg chg="add mod">
          <ac:chgData name="Katerine Schifino" userId="37bb67de-9fcf-4611-888c-7e5b58184a2a" providerId="ADAL" clId="{58C35E70-9B3E-4909-9CC8-3720A011650A}" dt="2022-02-21T20:40:14.519" v="2050" actId="164"/>
          <ac:picMkLst>
            <pc:docMk/>
            <pc:sldMk cId="4129277709" sldId="2146846075"/>
            <ac:picMk id="15" creationId="{0B562F0D-FA50-4B22-A13C-DE9C7BF0CD76}"/>
          </ac:picMkLst>
        </pc:picChg>
        <pc:picChg chg="add mod">
          <ac:chgData name="Katerine Schifino" userId="37bb67de-9fcf-4611-888c-7e5b58184a2a" providerId="ADAL" clId="{58C35E70-9B3E-4909-9CC8-3720A011650A}" dt="2022-02-21T20:40:18.234" v="2051" actId="164"/>
          <ac:picMkLst>
            <pc:docMk/>
            <pc:sldMk cId="4129277709" sldId="2146846075"/>
            <ac:picMk id="16" creationId="{BD69D520-BDA5-45A0-BE23-18C25CABBDA4}"/>
          </ac:picMkLst>
        </pc:picChg>
        <pc:picChg chg="add mod">
          <ac:chgData name="Katerine Schifino" userId="37bb67de-9fcf-4611-888c-7e5b58184a2a" providerId="ADAL" clId="{58C35E70-9B3E-4909-9CC8-3720A011650A}" dt="2022-02-21T20:40:07.731" v="2040" actId="164"/>
          <ac:picMkLst>
            <pc:docMk/>
            <pc:sldMk cId="4129277709" sldId="2146846075"/>
            <ac:picMk id="17" creationId="{83BEAB33-5B9D-4EEF-A1EF-387D8D3CA637}"/>
          </ac:picMkLst>
        </pc:picChg>
      </pc:sldChg>
      <pc:sldChg chg="addSp delSp modSp add mod">
        <pc:chgData name="Katerine Schifino" userId="37bb67de-9fcf-4611-888c-7e5b58184a2a" providerId="ADAL" clId="{58C35E70-9B3E-4909-9CC8-3720A011650A}" dt="2022-02-21T21:11:36.437" v="2553" actId="14100"/>
        <pc:sldMkLst>
          <pc:docMk/>
          <pc:sldMk cId="1399388959" sldId="2146846076"/>
        </pc:sldMkLst>
        <pc:spChg chg="mod">
          <ac:chgData name="Katerine Schifino" userId="37bb67de-9fcf-4611-888c-7e5b58184a2a" providerId="ADAL" clId="{58C35E70-9B3E-4909-9CC8-3720A011650A}" dt="2022-02-21T21:11:06.057" v="2549" actId="207"/>
          <ac:spMkLst>
            <pc:docMk/>
            <pc:sldMk cId="1399388959" sldId="2146846076"/>
            <ac:spMk id="2" creationId="{7D1E7581-7C4D-4F3D-B72D-B1CC3F8D661A}"/>
          </ac:spMkLst>
        </pc:spChg>
        <pc:spChg chg="mod">
          <ac:chgData name="Katerine Schifino" userId="37bb67de-9fcf-4611-888c-7e5b58184a2a" providerId="ADAL" clId="{58C35E70-9B3E-4909-9CC8-3720A011650A}" dt="2022-02-21T21:11:36.437" v="2553" actId="14100"/>
          <ac:spMkLst>
            <pc:docMk/>
            <pc:sldMk cId="1399388959" sldId="2146846076"/>
            <ac:spMk id="3" creationId="{ECC28DE0-D80C-4C93-BADC-8B952BE33F60}"/>
          </ac:spMkLst>
        </pc:spChg>
        <pc:spChg chg="mod">
          <ac:chgData name="Katerine Schifino" userId="37bb67de-9fcf-4611-888c-7e5b58184a2a" providerId="ADAL" clId="{58C35E70-9B3E-4909-9CC8-3720A011650A}" dt="2022-02-21T17:55:57.979" v="952" actId="207"/>
          <ac:spMkLst>
            <pc:docMk/>
            <pc:sldMk cId="1399388959" sldId="2146846076"/>
            <ac:spMk id="4" creationId="{3EAC8774-2EB2-4E56-A5AC-464AAA17B343}"/>
          </ac:spMkLst>
        </pc:spChg>
        <pc:spChg chg="mod">
          <ac:chgData name="Katerine Schifino" userId="37bb67de-9fcf-4611-888c-7e5b58184a2a" providerId="ADAL" clId="{58C35E70-9B3E-4909-9CC8-3720A011650A}" dt="2022-02-21T20:35:58.406" v="1960"/>
          <ac:spMkLst>
            <pc:docMk/>
            <pc:sldMk cId="1399388959" sldId="2146846076"/>
            <ac:spMk id="14" creationId="{9155200D-96BA-4255-9352-019B0FC4F2A3}"/>
          </ac:spMkLst>
        </pc:spChg>
        <pc:spChg chg="mod">
          <ac:chgData name="Katerine Schifino" userId="37bb67de-9fcf-4611-888c-7e5b58184a2a" providerId="ADAL" clId="{58C35E70-9B3E-4909-9CC8-3720A011650A}" dt="2022-02-21T20:35:58.406" v="1960"/>
          <ac:spMkLst>
            <pc:docMk/>
            <pc:sldMk cId="1399388959" sldId="2146846076"/>
            <ac:spMk id="15" creationId="{EB07D434-D4D7-4EC3-B209-F4A584D8B169}"/>
          </ac:spMkLst>
        </pc:spChg>
        <pc:spChg chg="mod">
          <ac:chgData name="Katerine Schifino" userId="37bb67de-9fcf-4611-888c-7e5b58184a2a" providerId="ADAL" clId="{58C35E70-9B3E-4909-9CC8-3720A011650A}" dt="2022-02-21T20:35:58.406" v="1960"/>
          <ac:spMkLst>
            <pc:docMk/>
            <pc:sldMk cId="1399388959" sldId="2146846076"/>
            <ac:spMk id="16" creationId="{8336F8E6-572A-41CE-A79A-1C76496F43B6}"/>
          </ac:spMkLst>
        </pc:spChg>
        <pc:spChg chg="add mod">
          <ac:chgData name="Katerine Schifino" userId="37bb67de-9fcf-4611-888c-7e5b58184a2a" providerId="ADAL" clId="{58C35E70-9B3E-4909-9CC8-3720A011650A}" dt="2022-02-21T20:49:33.592" v="2280" actId="164"/>
          <ac:spMkLst>
            <pc:docMk/>
            <pc:sldMk cId="1399388959" sldId="2146846076"/>
            <ac:spMk id="17" creationId="{74636A92-4ACD-4772-982A-0D9673D7860A}"/>
          </ac:spMkLst>
        </pc:spChg>
        <pc:spChg chg="add mod">
          <ac:chgData name="Katerine Schifino" userId="37bb67de-9fcf-4611-888c-7e5b58184a2a" providerId="ADAL" clId="{58C35E70-9B3E-4909-9CC8-3720A011650A}" dt="2022-02-21T20:49:36.988" v="2281" actId="164"/>
          <ac:spMkLst>
            <pc:docMk/>
            <pc:sldMk cId="1399388959" sldId="2146846076"/>
            <ac:spMk id="18" creationId="{DEB52DE1-770E-4D4E-9553-511EEEE45FB0}"/>
          </ac:spMkLst>
        </pc:spChg>
        <pc:spChg chg="add mod">
          <ac:chgData name="Katerine Schifino" userId="37bb67de-9fcf-4611-888c-7e5b58184a2a" providerId="ADAL" clId="{58C35E70-9B3E-4909-9CC8-3720A011650A}" dt="2022-02-21T20:50:38.649" v="2293" actId="14100"/>
          <ac:spMkLst>
            <pc:docMk/>
            <pc:sldMk cId="1399388959" sldId="2146846076"/>
            <ac:spMk id="19" creationId="{6AEB4195-2AF4-4737-A778-C4157400D8EC}"/>
          </ac:spMkLst>
        </pc:spChg>
        <pc:spChg chg="add mod">
          <ac:chgData name="Katerine Schifino" userId="37bb67de-9fcf-4611-888c-7e5b58184a2a" providerId="ADAL" clId="{58C35E70-9B3E-4909-9CC8-3720A011650A}" dt="2022-02-21T20:49:46.505" v="2284" actId="164"/>
          <ac:spMkLst>
            <pc:docMk/>
            <pc:sldMk cId="1399388959" sldId="2146846076"/>
            <ac:spMk id="20" creationId="{1646251B-71FD-4CE5-9BB8-C0D701F8816B}"/>
          </ac:spMkLst>
        </pc:spChg>
        <pc:spChg chg="add mod">
          <ac:chgData name="Katerine Schifino" userId="37bb67de-9fcf-4611-888c-7e5b58184a2a" providerId="ADAL" clId="{58C35E70-9B3E-4909-9CC8-3720A011650A}" dt="2022-02-21T20:49:43.710" v="2283" actId="164"/>
          <ac:spMkLst>
            <pc:docMk/>
            <pc:sldMk cId="1399388959" sldId="2146846076"/>
            <ac:spMk id="21" creationId="{C6A59099-D40F-48E3-B942-973612B51DC9}"/>
          </ac:spMkLst>
        </pc:spChg>
        <pc:spChg chg="add mod">
          <ac:chgData name="Katerine Schifino" userId="37bb67de-9fcf-4611-888c-7e5b58184a2a" providerId="ADAL" clId="{58C35E70-9B3E-4909-9CC8-3720A011650A}" dt="2022-02-21T20:49:33.592" v="2280" actId="164"/>
          <ac:spMkLst>
            <pc:docMk/>
            <pc:sldMk cId="1399388959" sldId="2146846076"/>
            <ac:spMk id="23" creationId="{6990B514-4A17-4E48-A4C9-08E34A22D42D}"/>
          </ac:spMkLst>
        </pc:spChg>
        <pc:spChg chg="add mod">
          <ac:chgData name="Katerine Schifino" userId="37bb67de-9fcf-4611-888c-7e5b58184a2a" providerId="ADAL" clId="{58C35E70-9B3E-4909-9CC8-3720A011650A}" dt="2022-02-21T20:49:36.988" v="2281" actId="164"/>
          <ac:spMkLst>
            <pc:docMk/>
            <pc:sldMk cId="1399388959" sldId="2146846076"/>
            <ac:spMk id="24" creationId="{DB40D7AF-F990-4536-8DE4-1187B69C7C8F}"/>
          </ac:spMkLst>
        </pc:spChg>
        <pc:spChg chg="add mod">
          <ac:chgData name="Katerine Schifino" userId="37bb67de-9fcf-4611-888c-7e5b58184a2a" providerId="ADAL" clId="{58C35E70-9B3E-4909-9CC8-3720A011650A}" dt="2022-02-21T21:02:49.505" v="2448" actId="1076"/>
          <ac:spMkLst>
            <pc:docMk/>
            <pc:sldMk cId="1399388959" sldId="2146846076"/>
            <ac:spMk id="25" creationId="{6886C4E0-352D-488A-971C-6C978EB58FCD}"/>
          </ac:spMkLst>
        </pc:spChg>
        <pc:spChg chg="add mod">
          <ac:chgData name="Katerine Schifino" userId="37bb67de-9fcf-4611-888c-7e5b58184a2a" providerId="ADAL" clId="{58C35E70-9B3E-4909-9CC8-3720A011650A}" dt="2022-02-21T20:49:43.710" v="2283" actId="164"/>
          <ac:spMkLst>
            <pc:docMk/>
            <pc:sldMk cId="1399388959" sldId="2146846076"/>
            <ac:spMk id="26" creationId="{9E9C79D1-18AF-48B1-9D1B-595DECF5B007}"/>
          </ac:spMkLst>
        </pc:spChg>
        <pc:spChg chg="add mod">
          <ac:chgData name="Katerine Schifino" userId="37bb67de-9fcf-4611-888c-7e5b58184a2a" providerId="ADAL" clId="{58C35E70-9B3E-4909-9CC8-3720A011650A}" dt="2022-02-21T20:49:46.505" v="2284" actId="164"/>
          <ac:spMkLst>
            <pc:docMk/>
            <pc:sldMk cId="1399388959" sldId="2146846076"/>
            <ac:spMk id="27" creationId="{62DBBA8D-7381-48D5-A1EF-20591AF34D7F}"/>
          </ac:spMkLst>
        </pc:spChg>
        <pc:spChg chg="mod">
          <ac:chgData name="Katerine Schifino" userId="37bb67de-9fcf-4611-888c-7e5b58184a2a" providerId="ADAL" clId="{58C35E70-9B3E-4909-9CC8-3720A011650A}" dt="2022-02-21T20:36:14.262" v="1979" actId="1036"/>
          <ac:spMkLst>
            <pc:docMk/>
            <pc:sldMk cId="1399388959" sldId="2146846076"/>
            <ac:spMk id="30" creationId="{96175DBC-EF98-4269-9912-6AFF58CC975F}"/>
          </ac:spMkLst>
        </pc:spChg>
        <pc:spChg chg="mod">
          <ac:chgData name="Katerine Schifino" userId="37bb67de-9fcf-4611-888c-7e5b58184a2a" providerId="ADAL" clId="{58C35E70-9B3E-4909-9CC8-3720A011650A}" dt="2022-02-21T20:36:14.262" v="1979" actId="1036"/>
          <ac:spMkLst>
            <pc:docMk/>
            <pc:sldMk cId="1399388959" sldId="2146846076"/>
            <ac:spMk id="31" creationId="{C023A83F-3A10-4785-9C83-3A0A245274F1}"/>
          </ac:spMkLst>
        </pc:spChg>
        <pc:spChg chg="mod">
          <ac:chgData name="Katerine Schifino" userId="37bb67de-9fcf-4611-888c-7e5b58184a2a" providerId="ADAL" clId="{58C35E70-9B3E-4909-9CC8-3720A011650A}" dt="2022-02-21T20:36:14.262" v="1979" actId="1036"/>
          <ac:spMkLst>
            <pc:docMk/>
            <pc:sldMk cId="1399388959" sldId="2146846076"/>
            <ac:spMk id="32" creationId="{1CB52CE4-5AA4-4F93-AE4F-7832F62BAB38}"/>
          </ac:spMkLst>
        </pc:spChg>
        <pc:spChg chg="mod">
          <ac:chgData name="Katerine Schifino" userId="37bb67de-9fcf-4611-888c-7e5b58184a2a" providerId="ADAL" clId="{58C35E70-9B3E-4909-9CC8-3720A011650A}" dt="2022-02-21T20:36:14.262" v="1979" actId="1036"/>
          <ac:spMkLst>
            <pc:docMk/>
            <pc:sldMk cId="1399388959" sldId="2146846076"/>
            <ac:spMk id="33" creationId="{FE0DC58E-9260-4BDE-A300-EA656C4498D0}"/>
          </ac:spMkLst>
        </pc:spChg>
        <pc:grpChg chg="add mod">
          <ac:chgData name="Katerine Schifino" userId="37bb67de-9fcf-4611-888c-7e5b58184a2a" providerId="ADAL" clId="{58C35E70-9B3E-4909-9CC8-3720A011650A}" dt="2022-02-21T20:54:01.975" v="2348" actId="164"/>
          <ac:grpSpMkLst>
            <pc:docMk/>
            <pc:sldMk cId="1399388959" sldId="2146846076"/>
            <ac:grpSpMk id="6" creationId="{21C384C3-E94A-461E-8E91-592D768F31A4}"/>
          </ac:grpSpMkLst>
        </pc:grpChg>
        <pc:grpChg chg="add mod">
          <ac:chgData name="Katerine Schifino" userId="37bb67de-9fcf-4611-888c-7e5b58184a2a" providerId="ADAL" clId="{58C35E70-9B3E-4909-9CC8-3720A011650A}" dt="2022-02-21T20:53:53.968" v="2346" actId="164"/>
          <ac:grpSpMkLst>
            <pc:docMk/>
            <pc:sldMk cId="1399388959" sldId="2146846076"/>
            <ac:grpSpMk id="7" creationId="{2BAC2D3A-D796-40AA-BE0A-7136D1292755}"/>
          </ac:grpSpMkLst>
        </pc:grpChg>
        <pc:grpChg chg="add mod">
          <ac:chgData name="Katerine Schifino" userId="37bb67de-9fcf-4611-888c-7e5b58184a2a" providerId="ADAL" clId="{58C35E70-9B3E-4909-9CC8-3720A011650A}" dt="2022-02-21T20:58:34.057" v="2377" actId="164"/>
          <ac:grpSpMkLst>
            <pc:docMk/>
            <pc:sldMk cId="1399388959" sldId="2146846076"/>
            <ac:grpSpMk id="8" creationId="{ABDAA429-44DA-44B2-BBB5-C9F35B8043A4}"/>
          </ac:grpSpMkLst>
        </pc:grpChg>
        <pc:grpChg chg="add mod">
          <ac:chgData name="Katerine Schifino" userId="37bb67de-9fcf-4611-888c-7e5b58184a2a" providerId="ADAL" clId="{58C35E70-9B3E-4909-9CC8-3720A011650A}" dt="2022-02-21T20:54:40.419" v="2361" actId="164"/>
          <ac:grpSpMkLst>
            <pc:docMk/>
            <pc:sldMk cId="1399388959" sldId="2146846076"/>
            <ac:grpSpMk id="9" creationId="{43197AE7-AD36-4E42-A13E-0F2990243D62}"/>
          </ac:grpSpMkLst>
        </pc:grpChg>
        <pc:grpChg chg="mod">
          <ac:chgData name="Katerine Schifino" userId="37bb67de-9fcf-4611-888c-7e5b58184a2a" providerId="ADAL" clId="{58C35E70-9B3E-4909-9CC8-3720A011650A}" dt="2022-02-21T17:39:49.909" v="817" actId="207"/>
          <ac:grpSpMkLst>
            <pc:docMk/>
            <pc:sldMk cId="1399388959" sldId="2146846076"/>
            <ac:grpSpMk id="11" creationId="{EB8D5658-1CF4-47FF-9ABD-765E3795EDA8}"/>
          </ac:grpSpMkLst>
        </pc:grpChg>
        <pc:grpChg chg="add del mod">
          <ac:chgData name="Katerine Schifino" userId="37bb67de-9fcf-4611-888c-7e5b58184a2a" providerId="ADAL" clId="{58C35E70-9B3E-4909-9CC8-3720A011650A}" dt="2022-02-21T20:36:10.709" v="1978" actId="478"/>
          <ac:grpSpMkLst>
            <pc:docMk/>
            <pc:sldMk cId="1399388959" sldId="2146846076"/>
            <ac:grpSpMk id="12" creationId="{9E896C02-6379-4275-A908-BE67660CF91F}"/>
          </ac:grpSpMkLst>
        </pc:grpChg>
        <pc:grpChg chg="mod">
          <ac:chgData name="Katerine Schifino" userId="37bb67de-9fcf-4611-888c-7e5b58184a2a" providerId="ADAL" clId="{58C35E70-9B3E-4909-9CC8-3720A011650A}" dt="2022-02-21T20:35:58.406" v="1960"/>
          <ac:grpSpMkLst>
            <pc:docMk/>
            <pc:sldMk cId="1399388959" sldId="2146846076"/>
            <ac:grpSpMk id="13" creationId="{246D4ABF-15BF-464A-8A10-70ECC7419E15}"/>
          </ac:grpSpMkLst>
        </pc:grpChg>
        <pc:grpChg chg="add mod">
          <ac:chgData name="Katerine Schifino" userId="37bb67de-9fcf-4611-888c-7e5b58184a2a" providerId="ADAL" clId="{58C35E70-9B3E-4909-9CC8-3720A011650A}" dt="2022-02-21T20:54:31.974" v="2358" actId="164"/>
          <ac:grpSpMkLst>
            <pc:docMk/>
            <pc:sldMk cId="1399388959" sldId="2146846076"/>
            <ac:grpSpMk id="22" creationId="{DBB611F0-B286-4667-A8F4-1FBEE88F24CC}"/>
          </ac:grpSpMkLst>
        </pc:grpChg>
        <pc:grpChg chg="mod">
          <ac:chgData name="Katerine Schifino" userId="37bb67de-9fcf-4611-888c-7e5b58184a2a" providerId="ADAL" clId="{58C35E70-9B3E-4909-9CC8-3720A011650A}" dt="2022-02-21T20:36:14.262" v="1979" actId="1036"/>
          <ac:grpSpMkLst>
            <pc:docMk/>
            <pc:sldMk cId="1399388959" sldId="2146846076"/>
            <ac:grpSpMk id="29" creationId="{E52FC0A8-3EB5-4652-AD8B-1EE657854A4C}"/>
          </ac:grpSpMkLst>
        </pc:grpChg>
        <pc:grpChg chg="add mod">
          <ac:chgData name="Katerine Schifino" userId="37bb67de-9fcf-4611-888c-7e5b58184a2a" providerId="ADAL" clId="{58C35E70-9B3E-4909-9CC8-3720A011650A}" dt="2022-02-21T21:02:32.450" v="2444" actId="1036"/>
          <ac:grpSpMkLst>
            <pc:docMk/>
            <pc:sldMk cId="1399388959" sldId="2146846076"/>
            <ac:grpSpMk id="41" creationId="{EDFECC8F-70A2-4607-9F4A-8CCF83DB4364}"/>
          </ac:grpSpMkLst>
        </pc:grpChg>
        <pc:grpChg chg="add mod">
          <ac:chgData name="Katerine Schifino" userId="37bb67de-9fcf-4611-888c-7e5b58184a2a" providerId="ADAL" clId="{58C35E70-9B3E-4909-9CC8-3720A011650A}" dt="2022-02-21T21:02:32.450" v="2444" actId="1036"/>
          <ac:grpSpMkLst>
            <pc:docMk/>
            <pc:sldMk cId="1399388959" sldId="2146846076"/>
            <ac:grpSpMk id="42" creationId="{6FBDE518-9311-410B-947D-D1FAE1FA3032}"/>
          </ac:grpSpMkLst>
        </pc:grpChg>
        <pc:grpChg chg="add mod">
          <ac:chgData name="Katerine Schifino" userId="37bb67de-9fcf-4611-888c-7e5b58184a2a" providerId="ADAL" clId="{58C35E70-9B3E-4909-9CC8-3720A011650A}" dt="2022-02-21T21:02:32.450" v="2444" actId="1036"/>
          <ac:grpSpMkLst>
            <pc:docMk/>
            <pc:sldMk cId="1399388959" sldId="2146846076"/>
            <ac:grpSpMk id="43" creationId="{971C2EF3-D3C0-46CF-A4CA-1AC124EAD6C9}"/>
          </ac:grpSpMkLst>
        </pc:grpChg>
        <pc:grpChg chg="add mod">
          <ac:chgData name="Katerine Schifino" userId="37bb67de-9fcf-4611-888c-7e5b58184a2a" providerId="ADAL" clId="{58C35E70-9B3E-4909-9CC8-3720A011650A}" dt="2022-02-21T21:02:32.450" v="2444" actId="1036"/>
          <ac:grpSpMkLst>
            <pc:docMk/>
            <pc:sldMk cId="1399388959" sldId="2146846076"/>
            <ac:grpSpMk id="44" creationId="{D8D8FA89-C656-40F3-92D7-ECD79575144F}"/>
          </ac:grpSpMkLst>
        </pc:grpChg>
        <pc:grpChg chg="add mod">
          <ac:chgData name="Katerine Schifino" userId="37bb67de-9fcf-4611-888c-7e5b58184a2a" providerId="ADAL" clId="{58C35E70-9B3E-4909-9CC8-3720A011650A}" dt="2022-02-21T21:02:32.450" v="2444" actId="1036"/>
          <ac:grpSpMkLst>
            <pc:docMk/>
            <pc:sldMk cId="1399388959" sldId="2146846076"/>
            <ac:grpSpMk id="51" creationId="{F61CB7BC-5345-4925-8B10-891F7E272566}"/>
          </ac:grpSpMkLst>
        </pc:grpChg>
        <pc:picChg chg="add mod">
          <ac:chgData name="Katerine Schifino" userId="37bb67de-9fcf-4611-888c-7e5b58184a2a" providerId="ADAL" clId="{58C35E70-9B3E-4909-9CC8-3720A011650A}" dt="2022-02-21T21:02:38.515" v="2446" actId="1076"/>
          <ac:picMkLst>
            <pc:docMk/>
            <pc:sldMk cId="1399388959" sldId="2146846076"/>
            <ac:picMk id="34" creationId="{F11F1CDC-E716-45CF-881C-F2288E2FC26E}"/>
          </ac:picMkLst>
        </pc:picChg>
        <pc:picChg chg="add mod">
          <ac:chgData name="Katerine Schifino" userId="37bb67de-9fcf-4611-888c-7e5b58184a2a" providerId="ADAL" clId="{58C35E70-9B3E-4909-9CC8-3720A011650A}" dt="2022-02-21T20:54:31.974" v="2358" actId="164"/>
          <ac:picMkLst>
            <pc:docMk/>
            <pc:sldMk cId="1399388959" sldId="2146846076"/>
            <ac:picMk id="36" creationId="{ACA2174B-7EF5-4DD5-834B-76ED7B61B434}"/>
          </ac:picMkLst>
        </pc:picChg>
        <pc:picChg chg="add mod">
          <ac:chgData name="Katerine Schifino" userId="37bb67de-9fcf-4611-888c-7e5b58184a2a" providerId="ADAL" clId="{58C35E70-9B3E-4909-9CC8-3720A011650A}" dt="2022-02-21T20:54:40.419" v="2361" actId="164"/>
          <ac:picMkLst>
            <pc:docMk/>
            <pc:sldMk cId="1399388959" sldId="2146846076"/>
            <ac:picMk id="38" creationId="{68A65A40-B8A1-4F03-BF0E-3D7269E3217F}"/>
          </ac:picMkLst>
        </pc:picChg>
        <pc:picChg chg="add mod">
          <ac:chgData name="Katerine Schifino" userId="37bb67de-9fcf-4611-888c-7e5b58184a2a" providerId="ADAL" clId="{58C35E70-9B3E-4909-9CC8-3720A011650A}" dt="2022-02-21T20:54:01.975" v="2348" actId="164"/>
          <ac:picMkLst>
            <pc:docMk/>
            <pc:sldMk cId="1399388959" sldId="2146846076"/>
            <ac:picMk id="40" creationId="{AC87E401-2A5D-4A66-8247-C00204FEC14F}"/>
          </ac:picMkLst>
        </pc:picChg>
        <pc:picChg chg="add del mod">
          <ac:chgData name="Katerine Schifino" userId="37bb67de-9fcf-4611-888c-7e5b58184a2a" providerId="ADAL" clId="{58C35E70-9B3E-4909-9CC8-3720A011650A}" dt="2022-02-21T20:58:15.053" v="2368" actId="478"/>
          <ac:picMkLst>
            <pc:docMk/>
            <pc:sldMk cId="1399388959" sldId="2146846076"/>
            <ac:picMk id="46" creationId="{80334A0A-C9FF-47DC-B7F2-A72A2F059560}"/>
          </ac:picMkLst>
        </pc:picChg>
        <pc:picChg chg="add mod">
          <ac:chgData name="Katerine Schifino" userId="37bb67de-9fcf-4611-888c-7e5b58184a2a" providerId="ADAL" clId="{58C35E70-9B3E-4909-9CC8-3720A011650A}" dt="2022-02-21T21:02:52.364" v="2449" actId="1076"/>
          <ac:picMkLst>
            <pc:docMk/>
            <pc:sldMk cId="1399388959" sldId="2146846076"/>
            <ac:picMk id="48" creationId="{4DDB190C-9B41-47DD-AE2E-A287A559CCA0}"/>
          </ac:picMkLst>
        </pc:picChg>
        <pc:picChg chg="add del mod">
          <ac:chgData name="Katerine Schifino" userId="37bb67de-9fcf-4611-888c-7e5b58184a2a" providerId="ADAL" clId="{58C35E70-9B3E-4909-9CC8-3720A011650A}" dt="2022-02-21T20:58:16.507" v="2369" actId="478"/>
          <ac:picMkLst>
            <pc:docMk/>
            <pc:sldMk cId="1399388959" sldId="2146846076"/>
            <ac:picMk id="50" creationId="{694AEF22-E9B0-4654-9AF6-82E71CB8A3A1}"/>
          </ac:picMkLst>
        </pc:picChg>
      </pc:sldChg>
      <pc:sldChg chg="addSp delSp modSp add mod">
        <pc:chgData name="Katerine Schifino" userId="37bb67de-9fcf-4611-888c-7e5b58184a2a" providerId="ADAL" clId="{58C35E70-9B3E-4909-9CC8-3720A011650A}" dt="2022-02-21T21:16:13.039" v="2594" actId="21"/>
        <pc:sldMkLst>
          <pc:docMk/>
          <pc:sldMk cId="360272954" sldId="2146846077"/>
        </pc:sldMkLst>
        <pc:spChg chg="mod">
          <ac:chgData name="Katerine Schifino" userId="37bb67de-9fcf-4611-888c-7e5b58184a2a" providerId="ADAL" clId="{58C35E70-9B3E-4909-9CC8-3720A011650A}" dt="2022-02-21T21:11:24.141" v="2551" actId="207"/>
          <ac:spMkLst>
            <pc:docMk/>
            <pc:sldMk cId="360272954" sldId="2146846077"/>
            <ac:spMk id="2" creationId="{7D1E7581-7C4D-4F3D-B72D-B1CC3F8D661A}"/>
          </ac:spMkLst>
        </pc:spChg>
        <pc:spChg chg="mod">
          <ac:chgData name="Katerine Schifino" userId="37bb67de-9fcf-4611-888c-7e5b58184a2a" providerId="ADAL" clId="{58C35E70-9B3E-4909-9CC8-3720A011650A}" dt="2022-02-21T21:11:29.238" v="2552" actId="14100"/>
          <ac:spMkLst>
            <pc:docMk/>
            <pc:sldMk cId="360272954" sldId="2146846077"/>
            <ac:spMk id="3" creationId="{ECC28DE0-D80C-4C93-BADC-8B952BE33F60}"/>
          </ac:spMkLst>
        </pc:spChg>
        <pc:spChg chg="mod">
          <ac:chgData name="Katerine Schifino" userId="37bb67de-9fcf-4611-888c-7e5b58184a2a" providerId="ADAL" clId="{58C35E70-9B3E-4909-9CC8-3720A011650A}" dt="2022-02-21T17:40:54.907" v="831" actId="207"/>
          <ac:spMkLst>
            <pc:docMk/>
            <pc:sldMk cId="360272954" sldId="2146846077"/>
            <ac:spMk id="4" creationId="{3EAC8774-2EB2-4E56-A5AC-464AAA17B343}"/>
          </ac:spMkLst>
        </pc:spChg>
        <pc:spChg chg="add mod">
          <ac:chgData name="Katerine Schifino" userId="37bb67de-9fcf-4611-888c-7e5b58184a2a" providerId="ADAL" clId="{58C35E70-9B3E-4909-9CC8-3720A011650A}" dt="2022-02-21T20:36:29.627" v="2000" actId="1035"/>
          <ac:spMkLst>
            <pc:docMk/>
            <pc:sldMk cId="360272954" sldId="2146846077"/>
            <ac:spMk id="12" creationId="{5DB426AC-A779-4CE8-BC52-DA5DFBF5D44B}"/>
          </ac:spMkLst>
        </pc:spChg>
        <pc:spChg chg="mod">
          <ac:chgData name="Katerine Schifino" userId="37bb67de-9fcf-4611-888c-7e5b58184a2a" providerId="ADAL" clId="{58C35E70-9B3E-4909-9CC8-3720A011650A}" dt="2022-02-21T20:36:22.658" v="1980"/>
          <ac:spMkLst>
            <pc:docMk/>
            <pc:sldMk cId="360272954" sldId="2146846077"/>
            <ac:spMk id="15" creationId="{CFAD3D74-839A-4989-8BE2-4C309F701359}"/>
          </ac:spMkLst>
        </pc:spChg>
        <pc:spChg chg="mod">
          <ac:chgData name="Katerine Schifino" userId="37bb67de-9fcf-4611-888c-7e5b58184a2a" providerId="ADAL" clId="{58C35E70-9B3E-4909-9CC8-3720A011650A}" dt="2022-02-21T20:36:22.658" v="1980"/>
          <ac:spMkLst>
            <pc:docMk/>
            <pc:sldMk cId="360272954" sldId="2146846077"/>
            <ac:spMk id="16" creationId="{5E327CEE-620E-47F8-806F-E93A7EE4F3E4}"/>
          </ac:spMkLst>
        </pc:spChg>
        <pc:spChg chg="mod">
          <ac:chgData name="Katerine Schifino" userId="37bb67de-9fcf-4611-888c-7e5b58184a2a" providerId="ADAL" clId="{58C35E70-9B3E-4909-9CC8-3720A011650A}" dt="2022-02-21T20:36:22.658" v="1980"/>
          <ac:spMkLst>
            <pc:docMk/>
            <pc:sldMk cId="360272954" sldId="2146846077"/>
            <ac:spMk id="17" creationId="{294E1165-5E7D-4F35-A021-2F4AA98563B0}"/>
          </ac:spMkLst>
        </pc:spChg>
        <pc:spChg chg="add mod">
          <ac:chgData name="Katerine Schifino" userId="37bb67de-9fcf-4611-888c-7e5b58184a2a" providerId="ADAL" clId="{58C35E70-9B3E-4909-9CC8-3720A011650A}" dt="2022-02-21T21:15:36.129" v="2579" actId="20577"/>
          <ac:spMkLst>
            <pc:docMk/>
            <pc:sldMk cId="360272954" sldId="2146846077"/>
            <ac:spMk id="19" creationId="{236F10AB-F94A-4E90-85EA-B39191B07934}"/>
          </ac:spMkLst>
        </pc:spChg>
        <pc:spChg chg="add mod">
          <ac:chgData name="Katerine Schifino" userId="37bb67de-9fcf-4611-888c-7e5b58184a2a" providerId="ADAL" clId="{58C35E70-9B3E-4909-9CC8-3720A011650A}" dt="2022-02-21T21:16:12.649" v="2593" actId="20577"/>
          <ac:spMkLst>
            <pc:docMk/>
            <pc:sldMk cId="360272954" sldId="2146846077"/>
            <ac:spMk id="21" creationId="{88ABBBA2-0A20-4DA1-81F3-55651AF7A6AE}"/>
          </ac:spMkLst>
        </pc:spChg>
        <pc:spChg chg="add del mod">
          <ac:chgData name="Katerine Schifino" userId="37bb67de-9fcf-4611-888c-7e5b58184a2a" providerId="ADAL" clId="{58C35E70-9B3E-4909-9CC8-3720A011650A}" dt="2022-02-21T21:16:13.039" v="2594" actId="21"/>
          <ac:spMkLst>
            <pc:docMk/>
            <pc:sldMk cId="360272954" sldId="2146846077"/>
            <ac:spMk id="22" creationId="{38EEE4E9-8CB8-4E4A-8A99-69912069FEC3}"/>
          </ac:spMkLst>
        </pc:spChg>
        <pc:spChg chg="del mod">
          <ac:chgData name="Katerine Schifino" userId="37bb67de-9fcf-4611-888c-7e5b58184a2a" providerId="ADAL" clId="{58C35E70-9B3E-4909-9CC8-3720A011650A}" dt="2022-02-21T17:47:13.583" v="883" actId="478"/>
          <ac:spMkLst>
            <pc:docMk/>
            <pc:sldMk cId="360272954" sldId="2146846077"/>
            <ac:spMk id="30" creationId="{96175DBC-EF98-4269-9912-6AFF58CC975F}"/>
          </ac:spMkLst>
        </pc:spChg>
        <pc:spChg chg="mod">
          <ac:chgData name="Katerine Schifino" userId="37bb67de-9fcf-4611-888c-7e5b58184a2a" providerId="ADAL" clId="{58C35E70-9B3E-4909-9CC8-3720A011650A}" dt="2022-02-21T20:36:29.627" v="2000" actId="1035"/>
          <ac:spMkLst>
            <pc:docMk/>
            <pc:sldMk cId="360272954" sldId="2146846077"/>
            <ac:spMk id="31" creationId="{C023A83F-3A10-4785-9C83-3A0A245274F1}"/>
          </ac:spMkLst>
        </pc:spChg>
        <pc:spChg chg="mod">
          <ac:chgData name="Katerine Schifino" userId="37bb67de-9fcf-4611-888c-7e5b58184a2a" providerId="ADAL" clId="{58C35E70-9B3E-4909-9CC8-3720A011650A}" dt="2022-02-21T20:36:29.627" v="2000" actId="1035"/>
          <ac:spMkLst>
            <pc:docMk/>
            <pc:sldMk cId="360272954" sldId="2146846077"/>
            <ac:spMk id="32" creationId="{1CB52CE4-5AA4-4F93-AE4F-7832F62BAB38}"/>
          </ac:spMkLst>
        </pc:spChg>
        <pc:spChg chg="mod">
          <ac:chgData name="Katerine Schifino" userId="37bb67de-9fcf-4611-888c-7e5b58184a2a" providerId="ADAL" clId="{58C35E70-9B3E-4909-9CC8-3720A011650A}" dt="2022-02-21T20:36:29.627" v="2000" actId="1035"/>
          <ac:spMkLst>
            <pc:docMk/>
            <pc:sldMk cId="360272954" sldId="2146846077"/>
            <ac:spMk id="33" creationId="{FE0DC58E-9260-4BDE-A300-EA656C4498D0}"/>
          </ac:spMkLst>
        </pc:spChg>
        <pc:grpChg chg="mod">
          <ac:chgData name="Katerine Schifino" userId="37bb67de-9fcf-4611-888c-7e5b58184a2a" providerId="ADAL" clId="{58C35E70-9B3E-4909-9CC8-3720A011650A}" dt="2022-02-21T17:40:54.907" v="831" actId="207"/>
          <ac:grpSpMkLst>
            <pc:docMk/>
            <pc:sldMk cId="360272954" sldId="2146846077"/>
            <ac:grpSpMk id="11" creationId="{EB8D5658-1CF4-47FF-9ABD-765E3795EDA8}"/>
          </ac:grpSpMkLst>
        </pc:grpChg>
        <pc:grpChg chg="add del mod">
          <ac:chgData name="Katerine Schifino" userId="37bb67de-9fcf-4611-888c-7e5b58184a2a" providerId="ADAL" clId="{58C35E70-9B3E-4909-9CC8-3720A011650A}" dt="2022-02-21T20:36:31.722" v="2001" actId="478"/>
          <ac:grpSpMkLst>
            <pc:docMk/>
            <pc:sldMk cId="360272954" sldId="2146846077"/>
            <ac:grpSpMk id="13" creationId="{0A805B47-E6EF-4AC9-8883-0D13A293F9F1}"/>
          </ac:grpSpMkLst>
        </pc:grpChg>
        <pc:grpChg chg="mod">
          <ac:chgData name="Katerine Schifino" userId="37bb67de-9fcf-4611-888c-7e5b58184a2a" providerId="ADAL" clId="{58C35E70-9B3E-4909-9CC8-3720A011650A}" dt="2022-02-21T20:36:22.658" v="1980"/>
          <ac:grpSpMkLst>
            <pc:docMk/>
            <pc:sldMk cId="360272954" sldId="2146846077"/>
            <ac:grpSpMk id="14" creationId="{340834D7-1CC2-4F2A-A85D-71914C9344F5}"/>
          </ac:grpSpMkLst>
        </pc:grpChg>
        <pc:grpChg chg="mod">
          <ac:chgData name="Katerine Schifino" userId="37bb67de-9fcf-4611-888c-7e5b58184a2a" providerId="ADAL" clId="{58C35E70-9B3E-4909-9CC8-3720A011650A}" dt="2022-02-21T20:36:29.627" v="2000" actId="1035"/>
          <ac:grpSpMkLst>
            <pc:docMk/>
            <pc:sldMk cId="360272954" sldId="2146846077"/>
            <ac:grpSpMk id="29" creationId="{E52FC0A8-3EB5-4652-AD8B-1EE657854A4C}"/>
          </ac:grpSpMkLst>
        </pc:grpChg>
      </pc:sldChg>
      <pc:sldChg chg="addSp delSp modSp add mod">
        <pc:chgData name="Katerine Schifino" userId="37bb67de-9fcf-4611-888c-7e5b58184a2a" providerId="ADAL" clId="{58C35E70-9B3E-4909-9CC8-3720A011650A}" dt="2022-02-21T21:16:52.787" v="2602" actId="20577"/>
        <pc:sldMkLst>
          <pc:docMk/>
          <pc:sldMk cId="4043600639" sldId="2146846078"/>
        </pc:sldMkLst>
        <pc:spChg chg="mod">
          <ac:chgData name="Katerine Schifino" userId="37bb67de-9fcf-4611-888c-7e5b58184a2a" providerId="ADAL" clId="{58C35E70-9B3E-4909-9CC8-3720A011650A}" dt="2022-02-21T17:41:46.766" v="842" actId="207"/>
          <ac:spMkLst>
            <pc:docMk/>
            <pc:sldMk cId="4043600639" sldId="2146846078"/>
            <ac:spMk id="2" creationId="{7D1E7581-7C4D-4F3D-B72D-B1CC3F8D661A}"/>
          </ac:spMkLst>
        </pc:spChg>
        <pc:spChg chg="mod">
          <ac:chgData name="Katerine Schifino" userId="37bb67de-9fcf-4611-888c-7e5b58184a2a" providerId="ADAL" clId="{58C35E70-9B3E-4909-9CC8-3720A011650A}" dt="2022-02-21T21:09:40.906" v="2535" actId="14100"/>
          <ac:spMkLst>
            <pc:docMk/>
            <pc:sldMk cId="4043600639" sldId="2146846078"/>
            <ac:spMk id="3" creationId="{ECC28DE0-D80C-4C93-BADC-8B952BE33F60}"/>
          </ac:spMkLst>
        </pc:spChg>
        <pc:spChg chg="mod">
          <ac:chgData name="Katerine Schifino" userId="37bb67de-9fcf-4611-888c-7e5b58184a2a" providerId="ADAL" clId="{58C35E70-9B3E-4909-9CC8-3720A011650A}" dt="2022-02-21T17:41:46.766" v="842" actId="207"/>
          <ac:spMkLst>
            <pc:docMk/>
            <pc:sldMk cId="4043600639" sldId="2146846078"/>
            <ac:spMk id="4" creationId="{3EAC8774-2EB2-4E56-A5AC-464AAA17B343}"/>
          </ac:spMkLst>
        </pc:spChg>
        <pc:spChg chg="add mod ord">
          <ac:chgData name="Katerine Schifino" userId="37bb67de-9fcf-4611-888c-7e5b58184a2a" providerId="ADAL" clId="{58C35E70-9B3E-4909-9CC8-3720A011650A}" dt="2022-02-21T21:02:02.011" v="2428" actId="207"/>
          <ac:spMkLst>
            <pc:docMk/>
            <pc:sldMk cId="4043600639" sldId="2146846078"/>
            <ac:spMk id="7" creationId="{1C2ECF8A-1BE7-4824-966B-2831F372B2A5}"/>
          </ac:spMkLst>
        </pc:spChg>
        <pc:spChg chg="mod">
          <ac:chgData name="Katerine Schifino" userId="37bb67de-9fcf-4611-888c-7e5b58184a2a" providerId="ADAL" clId="{58C35E70-9B3E-4909-9CC8-3720A011650A}" dt="2022-02-21T20:36:37.409" v="2002"/>
          <ac:spMkLst>
            <pc:docMk/>
            <pc:sldMk cId="4043600639" sldId="2146846078"/>
            <ac:spMk id="14" creationId="{6CAFD2CC-1B76-40AC-B44A-B5FC326F74F6}"/>
          </ac:spMkLst>
        </pc:spChg>
        <pc:spChg chg="mod">
          <ac:chgData name="Katerine Schifino" userId="37bb67de-9fcf-4611-888c-7e5b58184a2a" providerId="ADAL" clId="{58C35E70-9B3E-4909-9CC8-3720A011650A}" dt="2022-02-21T20:36:37.409" v="2002"/>
          <ac:spMkLst>
            <pc:docMk/>
            <pc:sldMk cId="4043600639" sldId="2146846078"/>
            <ac:spMk id="15" creationId="{04193214-81C2-4218-B818-B7BCAAE984B4}"/>
          </ac:spMkLst>
        </pc:spChg>
        <pc:spChg chg="mod">
          <ac:chgData name="Katerine Schifino" userId="37bb67de-9fcf-4611-888c-7e5b58184a2a" providerId="ADAL" clId="{58C35E70-9B3E-4909-9CC8-3720A011650A}" dt="2022-02-21T20:36:37.409" v="2002"/>
          <ac:spMkLst>
            <pc:docMk/>
            <pc:sldMk cId="4043600639" sldId="2146846078"/>
            <ac:spMk id="16" creationId="{D8BAC32B-E592-4F06-B734-E41BAA838011}"/>
          </ac:spMkLst>
        </pc:spChg>
        <pc:spChg chg="add mod ord">
          <ac:chgData name="Katerine Schifino" userId="37bb67de-9fcf-4611-888c-7e5b58184a2a" providerId="ADAL" clId="{58C35E70-9B3E-4909-9CC8-3720A011650A}" dt="2022-02-21T21:16:52.787" v="2602" actId="20577"/>
          <ac:spMkLst>
            <pc:docMk/>
            <pc:sldMk cId="4043600639" sldId="2146846078"/>
            <ac:spMk id="18" creationId="{6BA07D6C-4C18-43D0-880A-5AE8A4592E94}"/>
          </ac:spMkLst>
        </pc:spChg>
        <pc:spChg chg="add del mod">
          <ac:chgData name="Katerine Schifino" userId="37bb67de-9fcf-4611-888c-7e5b58184a2a" providerId="ADAL" clId="{58C35E70-9B3E-4909-9CC8-3720A011650A}" dt="2022-02-21T21:01:01.596" v="2426" actId="478"/>
          <ac:spMkLst>
            <pc:docMk/>
            <pc:sldMk cId="4043600639" sldId="2146846078"/>
            <ac:spMk id="20" creationId="{6DAC3725-1D1C-471B-85B4-97C4C8B990E6}"/>
          </ac:spMkLst>
        </pc:spChg>
        <pc:spChg chg="add mod">
          <ac:chgData name="Katerine Schifino" userId="37bb67de-9fcf-4611-888c-7e5b58184a2a" providerId="ADAL" clId="{58C35E70-9B3E-4909-9CC8-3720A011650A}" dt="2022-02-21T21:02:06.296" v="2429" actId="207"/>
          <ac:spMkLst>
            <pc:docMk/>
            <pc:sldMk cId="4043600639" sldId="2146846078"/>
            <ac:spMk id="22" creationId="{27CCAEFE-36D0-4B80-969A-F060F8192A2C}"/>
          </ac:spMkLst>
        </pc:spChg>
        <pc:spChg chg="add mod">
          <ac:chgData name="Katerine Schifino" userId="37bb67de-9fcf-4611-888c-7e5b58184a2a" providerId="ADAL" clId="{58C35E70-9B3E-4909-9CC8-3720A011650A}" dt="2022-02-21T21:02:10.612" v="2430" actId="207"/>
          <ac:spMkLst>
            <pc:docMk/>
            <pc:sldMk cId="4043600639" sldId="2146846078"/>
            <ac:spMk id="23" creationId="{F740B5BF-710E-4635-9968-520129B082ED}"/>
          </ac:spMkLst>
        </pc:spChg>
        <pc:spChg chg="mod">
          <ac:chgData name="Katerine Schifino" userId="37bb67de-9fcf-4611-888c-7e5b58184a2a" providerId="ADAL" clId="{58C35E70-9B3E-4909-9CC8-3720A011650A}" dt="2022-02-21T20:36:44.838" v="2024" actId="1035"/>
          <ac:spMkLst>
            <pc:docMk/>
            <pc:sldMk cId="4043600639" sldId="2146846078"/>
            <ac:spMk id="30" creationId="{96175DBC-EF98-4269-9912-6AFF58CC975F}"/>
          </ac:spMkLst>
        </pc:spChg>
        <pc:spChg chg="mod">
          <ac:chgData name="Katerine Schifino" userId="37bb67de-9fcf-4611-888c-7e5b58184a2a" providerId="ADAL" clId="{58C35E70-9B3E-4909-9CC8-3720A011650A}" dt="2022-02-21T20:36:44.838" v="2024" actId="1035"/>
          <ac:spMkLst>
            <pc:docMk/>
            <pc:sldMk cId="4043600639" sldId="2146846078"/>
            <ac:spMk id="31" creationId="{C023A83F-3A10-4785-9C83-3A0A245274F1}"/>
          </ac:spMkLst>
        </pc:spChg>
        <pc:spChg chg="mod">
          <ac:chgData name="Katerine Schifino" userId="37bb67de-9fcf-4611-888c-7e5b58184a2a" providerId="ADAL" clId="{58C35E70-9B3E-4909-9CC8-3720A011650A}" dt="2022-02-21T20:36:44.838" v="2024" actId="1035"/>
          <ac:spMkLst>
            <pc:docMk/>
            <pc:sldMk cId="4043600639" sldId="2146846078"/>
            <ac:spMk id="32" creationId="{1CB52CE4-5AA4-4F93-AE4F-7832F62BAB38}"/>
          </ac:spMkLst>
        </pc:spChg>
        <pc:spChg chg="mod">
          <ac:chgData name="Katerine Schifino" userId="37bb67de-9fcf-4611-888c-7e5b58184a2a" providerId="ADAL" clId="{58C35E70-9B3E-4909-9CC8-3720A011650A}" dt="2022-02-21T20:36:44.838" v="2024" actId="1035"/>
          <ac:spMkLst>
            <pc:docMk/>
            <pc:sldMk cId="4043600639" sldId="2146846078"/>
            <ac:spMk id="33" creationId="{FE0DC58E-9260-4BDE-A300-EA656C4498D0}"/>
          </ac:spMkLst>
        </pc:spChg>
        <pc:grpChg chg="mod">
          <ac:chgData name="Katerine Schifino" userId="37bb67de-9fcf-4611-888c-7e5b58184a2a" providerId="ADAL" clId="{58C35E70-9B3E-4909-9CC8-3720A011650A}" dt="2022-02-21T17:41:46.766" v="842" actId="207"/>
          <ac:grpSpMkLst>
            <pc:docMk/>
            <pc:sldMk cId="4043600639" sldId="2146846078"/>
            <ac:grpSpMk id="11" creationId="{EB8D5658-1CF4-47FF-9ABD-765E3795EDA8}"/>
          </ac:grpSpMkLst>
        </pc:grpChg>
        <pc:grpChg chg="add del mod">
          <ac:chgData name="Katerine Schifino" userId="37bb67de-9fcf-4611-888c-7e5b58184a2a" providerId="ADAL" clId="{58C35E70-9B3E-4909-9CC8-3720A011650A}" dt="2022-02-21T20:36:46.827" v="2025" actId="478"/>
          <ac:grpSpMkLst>
            <pc:docMk/>
            <pc:sldMk cId="4043600639" sldId="2146846078"/>
            <ac:grpSpMk id="12" creationId="{DE088598-D70B-4FE7-AB7A-4F222C45DF33}"/>
          </ac:grpSpMkLst>
        </pc:grpChg>
        <pc:grpChg chg="mod">
          <ac:chgData name="Katerine Schifino" userId="37bb67de-9fcf-4611-888c-7e5b58184a2a" providerId="ADAL" clId="{58C35E70-9B3E-4909-9CC8-3720A011650A}" dt="2022-02-21T20:36:37.409" v="2002"/>
          <ac:grpSpMkLst>
            <pc:docMk/>
            <pc:sldMk cId="4043600639" sldId="2146846078"/>
            <ac:grpSpMk id="13" creationId="{42B1B739-5253-4D63-AFBB-73B51DEC6673}"/>
          </ac:grpSpMkLst>
        </pc:grpChg>
        <pc:grpChg chg="mod">
          <ac:chgData name="Katerine Schifino" userId="37bb67de-9fcf-4611-888c-7e5b58184a2a" providerId="ADAL" clId="{58C35E70-9B3E-4909-9CC8-3720A011650A}" dt="2022-02-21T21:09:37.223" v="2534" actId="14100"/>
          <ac:grpSpMkLst>
            <pc:docMk/>
            <pc:sldMk cId="4043600639" sldId="2146846078"/>
            <ac:grpSpMk id="29" creationId="{E52FC0A8-3EB5-4652-AD8B-1EE657854A4C}"/>
          </ac:grpSpMkLst>
        </pc:grpChg>
      </pc:sldChg>
      <pc:sldChg chg="addSp delSp modSp add mod">
        <pc:chgData name="Katerine Schifino" userId="37bb67de-9fcf-4611-888c-7e5b58184a2a" providerId="ADAL" clId="{58C35E70-9B3E-4909-9CC8-3720A011650A}" dt="2022-02-21T22:08:54.262" v="2865" actId="1036"/>
        <pc:sldMkLst>
          <pc:docMk/>
          <pc:sldMk cId="2196233698" sldId="2146846079"/>
        </pc:sldMkLst>
        <pc:spChg chg="add mod">
          <ac:chgData name="Katerine Schifino" userId="37bb67de-9fcf-4611-888c-7e5b58184a2a" providerId="ADAL" clId="{58C35E70-9B3E-4909-9CC8-3720A011650A}" dt="2022-02-21T22:04:26.614" v="2782" actId="20577"/>
          <ac:spMkLst>
            <pc:docMk/>
            <pc:sldMk cId="2196233698" sldId="2146846079"/>
            <ac:spMk id="4" creationId="{C70B9E81-9E4D-42CE-BD51-07A1CD890907}"/>
          </ac:spMkLst>
        </pc:spChg>
        <pc:spChg chg="add mod">
          <ac:chgData name="Katerine Schifino" userId="37bb67de-9fcf-4611-888c-7e5b58184a2a" providerId="ADAL" clId="{58C35E70-9B3E-4909-9CC8-3720A011650A}" dt="2022-02-21T22:08:54.262" v="2865" actId="1036"/>
          <ac:spMkLst>
            <pc:docMk/>
            <pc:sldMk cId="2196233698" sldId="2146846079"/>
            <ac:spMk id="5" creationId="{9FD243FD-F49C-4D4F-87E6-0BBED144B9D9}"/>
          </ac:spMkLst>
        </pc:spChg>
        <pc:spChg chg="add mod">
          <ac:chgData name="Katerine Schifino" userId="37bb67de-9fcf-4611-888c-7e5b58184a2a" providerId="ADAL" clId="{58C35E70-9B3E-4909-9CC8-3720A011650A}" dt="2022-02-21T22:08:54.262" v="2865" actId="1036"/>
          <ac:spMkLst>
            <pc:docMk/>
            <pc:sldMk cId="2196233698" sldId="2146846079"/>
            <ac:spMk id="7" creationId="{DDEA84F3-FC20-4CF9-99B3-0AFF6AE5906B}"/>
          </ac:spMkLst>
        </pc:spChg>
        <pc:spChg chg="add mod">
          <ac:chgData name="Katerine Schifino" userId="37bb67de-9fcf-4611-888c-7e5b58184a2a" providerId="ADAL" clId="{58C35E70-9B3E-4909-9CC8-3720A011650A}" dt="2022-02-21T22:08:40.875" v="2840" actId="1076"/>
          <ac:spMkLst>
            <pc:docMk/>
            <pc:sldMk cId="2196233698" sldId="2146846079"/>
            <ac:spMk id="9" creationId="{4DAB6B81-A634-4659-AE77-A9108D3D332F}"/>
          </ac:spMkLst>
        </pc:spChg>
        <pc:spChg chg="mod">
          <ac:chgData name="Katerine Schifino" userId="37bb67de-9fcf-4611-888c-7e5b58184a2a" providerId="ADAL" clId="{58C35E70-9B3E-4909-9CC8-3720A011650A}" dt="2022-02-21T22:01:52.966" v="2715" actId="20577"/>
          <ac:spMkLst>
            <pc:docMk/>
            <pc:sldMk cId="2196233698" sldId="2146846079"/>
            <ac:spMk id="10" creationId="{5FEBD768-6CBB-4D42-B186-30EDCE4EE10B}"/>
          </ac:spMkLst>
        </pc:spChg>
        <pc:spChg chg="add del mod">
          <ac:chgData name="Katerine Schifino" userId="37bb67de-9fcf-4611-888c-7e5b58184a2a" providerId="ADAL" clId="{58C35E70-9B3E-4909-9CC8-3720A011650A}" dt="2022-02-21T20:31:49.159" v="1850" actId="478"/>
          <ac:spMkLst>
            <pc:docMk/>
            <pc:sldMk cId="2196233698" sldId="2146846079"/>
            <ac:spMk id="12" creationId="{C4F7B1C3-883F-4E23-9F19-A4F53B5357DC}"/>
          </ac:spMkLst>
        </pc:spChg>
        <pc:spChg chg="add del mod">
          <ac:chgData name="Katerine Schifino" userId="37bb67de-9fcf-4611-888c-7e5b58184a2a" providerId="ADAL" clId="{58C35E70-9B3E-4909-9CC8-3720A011650A}" dt="2022-02-21T20:31:49.159" v="1850" actId="478"/>
          <ac:spMkLst>
            <pc:docMk/>
            <pc:sldMk cId="2196233698" sldId="2146846079"/>
            <ac:spMk id="14" creationId="{71FE0D8E-F6B1-465B-822F-977CD9CB31A1}"/>
          </ac:spMkLst>
        </pc:spChg>
        <pc:spChg chg="del">
          <ac:chgData name="Katerine Schifino" userId="37bb67de-9fcf-4611-888c-7e5b58184a2a" providerId="ADAL" clId="{58C35E70-9B3E-4909-9CC8-3720A011650A}" dt="2022-02-21T20:21:41.679" v="1703" actId="478"/>
          <ac:spMkLst>
            <pc:docMk/>
            <pc:sldMk cId="2196233698" sldId="2146846079"/>
            <ac:spMk id="15" creationId="{CE240FE3-6669-44CE-944F-5CBFC9DD569D}"/>
          </ac:spMkLst>
        </pc:spChg>
        <pc:spChg chg="add del mod">
          <ac:chgData name="Katerine Schifino" userId="37bb67de-9fcf-4611-888c-7e5b58184a2a" providerId="ADAL" clId="{58C35E70-9B3E-4909-9CC8-3720A011650A}" dt="2022-02-21T20:31:49.159" v="1850" actId="478"/>
          <ac:spMkLst>
            <pc:docMk/>
            <pc:sldMk cId="2196233698" sldId="2146846079"/>
            <ac:spMk id="16" creationId="{6E75FF82-9BF9-4836-90E8-58A437099342}"/>
          </ac:spMkLst>
        </pc:spChg>
        <pc:spChg chg="del">
          <ac:chgData name="Katerine Schifino" userId="37bb67de-9fcf-4611-888c-7e5b58184a2a" providerId="ADAL" clId="{58C35E70-9B3E-4909-9CC8-3720A011650A}" dt="2022-02-21T20:21:41.679" v="1703" actId="478"/>
          <ac:spMkLst>
            <pc:docMk/>
            <pc:sldMk cId="2196233698" sldId="2146846079"/>
            <ac:spMk id="17" creationId="{C2F41610-68A9-424E-AEF5-EFBCF326687A}"/>
          </ac:spMkLst>
        </pc:spChg>
        <pc:spChg chg="add del mod">
          <ac:chgData name="Katerine Schifino" userId="37bb67de-9fcf-4611-888c-7e5b58184a2a" providerId="ADAL" clId="{58C35E70-9B3E-4909-9CC8-3720A011650A}" dt="2022-02-21T20:31:49.159" v="1850" actId="478"/>
          <ac:spMkLst>
            <pc:docMk/>
            <pc:sldMk cId="2196233698" sldId="2146846079"/>
            <ac:spMk id="23" creationId="{88527154-CF73-4B8D-A84D-679680C2F53F}"/>
          </ac:spMkLst>
        </pc:spChg>
        <pc:spChg chg="del">
          <ac:chgData name="Katerine Schifino" userId="37bb67de-9fcf-4611-888c-7e5b58184a2a" providerId="ADAL" clId="{58C35E70-9B3E-4909-9CC8-3720A011650A}" dt="2022-02-21T20:21:41.679" v="1703" actId="478"/>
          <ac:spMkLst>
            <pc:docMk/>
            <pc:sldMk cId="2196233698" sldId="2146846079"/>
            <ac:spMk id="27" creationId="{5A095F37-E01E-4D83-B7EB-6C5A5789F7CE}"/>
          </ac:spMkLst>
        </pc:spChg>
        <pc:spChg chg="del">
          <ac:chgData name="Katerine Schifino" userId="37bb67de-9fcf-4611-888c-7e5b58184a2a" providerId="ADAL" clId="{58C35E70-9B3E-4909-9CC8-3720A011650A}" dt="2022-02-21T20:21:41.679" v="1703" actId="478"/>
          <ac:spMkLst>
            <pc:docMk/>
            <pc:sldMk cId="2196233698" sldId="2146846079"/>
            <ac:spMk id="31" creationId="{B6FD31D8-8991-4AA8-8A8D-89A8769B8676}"/>
          </ac:spMkLst>
        </pc:spChg>
        <pc:picChg chg="add del mod">
          <ac:chgData name="Katerine Schifino" userId="37bb67de-9fcf-4611-888c-7e5b58184a2a" providerId="ADAL" clId="{58C35E70-9B3E-4909-9CC8-3720A011650A}" dt="2022-02-21T20:31:49.159" v="1850" actId="478"/>
          <ac:picMkLst>
            <pc:docMk/>
            <pc:sldMk cId="2196233698" sldId="2146846079"/>
            <ac:picMk id="6" creationId="{00D53407-2BA9-42F9-B028-A0D53BCDF805}"/>
          </ac:picMkLst>
        </pc:picChg>
        <pc:picChg chg="add del mod">
          <ac:chgData name="Katerine Schifino" userId="37bb67de-9fcf-4611-888c-7e5b58184a2a" providerId="ADAL" clId="{58C35E70-9B3E-4909-9CC8-3720A011650A}" dt="2022-02-21T20:31:49.159" v="1850" actId="478"/>
          <ac:picMkLst>
            <pc:docMk/>
            <pc:sldMk cId="2196233698" sldId="2146846079"/>
            <ac:picMk id="8" creationId="{46CEB85F-9CA6-4771-9F47-8E7A409F5D35}"/>
          </ac:picMkLst>
        </pc:picChg>
        <pc:picChg chg="add del mod">
          <ac:chgData name="Katerine Schifino" userId="37bb67de-9fcf-4611-888c-7e5b58184a2a" providerId="ADAL" clId="{58C35E70-9B3E-4909-9CC8-3720A011650A}" dt="2022-02-21T20:31:49.159" v="1850" actId="478"/>
          <ac:picMkLst>
            <pc:docMk/>
            <pc:sldMk cId="2196233698" sldId="2146846079"/>
            <ac:picMk id="11" creationId="{344B1EB0-86B5-481C-ADEF-B83EE32235DD}"/>
          </ac:picMkLst>
        </pc:picChg>
        <pc:picChg chg="del">
          <ac:chgData name="Katerine Schifino" userId="37bb67de-9fcf-4611-888c-7e5b58184a2a" providerId="ADAL" clId="{58C35E70-9B3E-4909-9CC8-3720A011650A}" dt="2022-02-21T20:21:41.679" v="1703" actId="478"/>
          <ac:picMkLst>
            <pc:docMk/>
            <pc:sldMk cId="2196233698" sldId="2146846079"/>
            <ac:picMk id="24586" creationId="{59243879-C047-4141-A23F-2A1A46338A1C}"/>
          </ac:picMkLst>
        </pc:picChg>
        <pc:picChg chg="del">
          <ac:chgData name="Katerine Schifino" userId="37bb67de-9fcf-4611-888c-7e5b58184a2a" providerId="ADAL" clId="{58C35E70-9B3E-4909-9CC8-3720A011650A}" dt="2022-02-21T20:21:41.679" v="1703" actId="478"/>
          <ac:picMkLst>
            <pc:docMk/>
            <pc:sldMk cId="2196233698" sldId="2146846079"/>
            <ac:picMk id="24588" creationId="{FECDDE79-4B05-438C-BF12-36ED6A3E1EC7}"/>
          </ac:picMkLst>
        </pc:picChg>
        <pc:picChg chg="del">
          <ac:chgData name="Katerine Schifino" userId="37bb67de-9fcf-4611-888c-7e5b58184a2a" providerId="ADAL" clId="{58C35E70-9B3E-4909-9CC8-3720A011650A}" dt="2022-02-21T20:21:41.679" v="1703" actId="478"/>
          <ac:picMkLst>
            <pc:docMk/>
            <pc:sldMk cId="2196233698" sldId="2146846079"/>
            <ac:picMk id="24590" creationId="{76FF6099-6AF5-477C-AED7-D19BE1DDBF03}"/>
          </ac:picMkLst>
        </pc:picChg>
        <pc:picChg chg="del">
          <ac:chgData name="Katerine Schifino" userId="37bb67de-9fcf-4611-888c-7e5b58184a2a" providerId="ADAL" clId="{58C35E70-9B3E-4909-9CC8-3720A011650A}" dt="2022-02-21T20:21:41.679" v="1703" actId="478"/>
          <ac:picMkLst>
            <pc:docMk/>
            <pc:sldMk cId="2196233698" sldId="2146846079"/>
            <ac:picMk id="24592" creationId="{1586548B-FCE7-4369-9422-9E3710FDE0E2}"/>
          </ac:picMkLst>
        </pc:picChg>
      </pc:sldChg>
      <pc:sldChg chg="addSp modSp add mod">
        <pc:chgData name="Katerine Schifino" userId="37bb67de-9fcf-4611-888c-7e5b58184a2a" providerId="ADAL" clId="{58C35E70-9B3E-4909-9CC8-3720A011650A}" dt="2022-02-21T22:12:46.523" v="2919" actId="1076"/>
        <pc:sldMkLst>
          <pc:docMk/>
          <pc:sldMk cId="3585673595" sldId="2146846080"/>
        </pc:sldMkLst>
        <pc:spChg chg="add mod">
          <ac:chgData name="Katerine Schifino" userId="37bb67de-9fcf-4611-888c-7e5b58184a2a" providerId="ADAL" clId="{58C35E70-9B3E-4909-9CC8-3720A011650A}" dt="2022-02-21T22:12:46.523" v="2919" actId="1076"/>
          <ac:spMkLst>
            <pc:docMk/>
            <pc:sldMk cId="3585673595" sldId="2146846080"/>
            <ac:spMk id="4" creationId="{D055F06A-85C8-4BA3-A328-AB25973059F1}"/>
          </ac:spMkLst>
        </pc:spChg>
        <pc:spChg chg="mod">
          <ac:chgData name="Katerine Schifino" userId="37bb67de-9fcf-4611-888c-7e5b58184a2a" providerId="ADAL" clId="{58C35E70-9B3E-4909-9CC8-3720A011650A}" dt="2022-02-21T22:02:00.290" v="2744" actId="6549"/>
          <ac:spMkLst>
            <pc:docMk/>
            <pc:sldMk cId="3585673595" sldId="2146846080"/>
            <ac:spMk id="10" creationId="{5FEBD768-6CBB-4D42-B186-30EDCE4EE10B}"/>
          </ac:spMkLst>
        </pc:spChg>
      </pc:sldChg>
      <pc:sldChg chg="modSp add mod">
        <pc:chgData name="Katerine Schifino" userId="37bb67de-9fcf-4611-888c-7e5b58184a2a" providerId="ADAL" clId="{58C35E70-9B3E-4909-9CC8-3720A011650A}" dt="2022-02-21T22:02:05.838" v="2753" actId="20577"/>
        <pc:sldMkLst>
          <pc:docMk/>
          <pc:sldMk cId="3978227140" sldId="2146846081"/>
        </pc:sldMkLst>
        <pc:spChg chg="mod">
          <ac:chgData name="Katerine Schifino" userId="37bb67de-9fcf-4611-888c-7e5b58184a2a" providerId="ADAL" clId="{58C35E70-9B3E-4909-9CC8-3720A011650A}" dt="2022-02-21T22:02:05.838" v="2753" actId="20577"/>
          <ac:spMkLst>
            <pc:docMk/>
            <pc:sldMk cId="3978227140" sldId="2146846081"/>
            <ac:spMk id="10" creationId="{5FEBD768-6CBB-4D42-B186-30EDCE4EE10B}"/>
          </ac:spMkLst>
        </pc:spChg>
      </pc:sldChg>
      <pc:sldChg chg="modSp add mod">
        <pc:chgData name="Katerine Schifino" userId="37bb67de-9fcf-4611-888c-7e5b58184a2a" providerId="ADAL" clId="{58C35E70-9B3E-4909-9CC8-3720A011650A}" dt="2022-02-21T22:02:13.251" v="2770" actId="20577"/>
        <pc:sldMkLst>
          <pc:docMk/>
          <pc:sldMk cId="2951859435" sldId="2146846082"/>
        </pc:sldMkLst>
        <pc:spChg chg="mod">
          <ac:chgData name="Katerine Schifino" userId="37bb67de-9fcf-4611-888c-7e5b58184a2a" providerId="ADAL" clId="{58C35E70-9B3E-4909-9CC8-3720A011650A}" dt="2022-02-21T22:02:13.251" v="2770" actId="20577"/>
          <ac:spMkLst>
            <pc:docMk/>
            <pc:sldMk cId="2951859435" sldId="2146846082"/>
            <ac:spMk id="10" creationId="{5FEBD768-6CBB-4D42-B186-30EDCE4EE10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23E4BD6-E97A-46A4-AA30-568852B539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774AE6-0DA8-408F-8134-DDABC2EE87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287E9E-D2F8-4C1C-BC9F-E2CABAE66FE1}" type="datetimeFigureOut">
              <a:rPr lang="es-ES_tradnl" smtClean="0"/>
              <a:t>28/03/2022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DC6ADC-9CF6-47F3-86B4-4F7930AEF6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5CB9E5-1AC4-4BEF-9A42-4B32FD446B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63E78-60CA-441E-BA25-D241C8EDB6A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57631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72FAD-8778-405C-8921-79F3C25589D4}" type="datetimeFigureOut">
              <a:rPr lang="es-MX" smtClean="0"/>
              <a:t>28/03/2022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325E69-1CAA-46A9-A4D5-F2855D38AA5E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5930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50A416-AD79-4A78-B265-0B969D69B126}" type="slidenum">
              <a:rPr lang="es-419" smtClean="0"/>
              <a:t>1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422707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24434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044971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7443856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77611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6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22708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051353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70929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9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93224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04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B4EA689D-80F7-4CD1-B2F1-CAEA0F1721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2544" y="0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76B4DBF-9FB2-49CD-9916-3E041CA572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1"/>
          <a:stretch/>
        </p:blipFill>
        <p:spPr bwMode="auto">
          <a:xfrm>
            <a:off x="-1" y="0"/>
            <a:ext cx="3429803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373B186-8D07-4B83-86BE-C88123E3037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619"/>
          <a:stretch/>
        </p:blipFill>
        <p:spPr bwMode="auto">
          <a:xfrm>
            <a:off x="7979344" y="0"/>
            <a:ext cx="4212656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8D6260DF-65BA-4B8E-93B3-CC06118EA2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89"/>
          <a:stretch/>
        </p:blipFill>
        <p:spPr bwMode="auto">
          <a:xfrm>
            <a:off x="-1" y="47117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5B9A083B-30D6-405F-8D76-C6762C4D1B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" t="41448" r="-535" b="14541"/>
          <a:stretch/>
        </p:blipFill>
        <p:spPr bwMode="auto">
          <a:xfrm>
            <a:off x="4876799" y="48768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0D8FEBFE-B555-4112-981D-BB471C6AA65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059" b="55989"/>
          <a:stretch/>
        </p:blipFill>
        <p:spPr bwMode="auto">
          <a:xfrm>
            <a:off x="9902791" y="4711700"/>
            <a:ext cx="2289209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1398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10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64DBBD2-31FA-49D4-A73C-F5618417CD78}"/>
              </a:ext>
            </a:extLst>
          </p:cNvPr>
          <p:cNvGrpSpPr/>
          <p:nvPr userDrawn="1"/>
        </p:nvGrpSpPr>
        <p:grpSpPr>
          <a:xfrm>
            <a:off x="317500" y="-143933"/>
            <a:ext cx="11874500" cy="7001933"/>
            <a:chOff x="317500" y="-143933"/>
            <a:chExt cx="11874500" cy="700193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65D2D27-6251-427D-8CD6-3877A0D07EA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0" y="-143933"/>
              <a:ext cx="4876800" cy="487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A3BC59E-D672-4A55-BAD3-02C118600F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94"/>
            <a:stretch/>
          </p:blipFill>
          <p:spPr bwMode="auto">
            <a:xfrm>
              <a:off x="5413692" y="0"/>
              <a:ext cx="4876800" cy="4345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298334-0A8D-4F7D-BB05-50FDF31C692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7400"/>
            <a:stretch/>
          </p:blipFill>
          <p:spPr bwMode="auto">
            <a:xfrm>
              <a:off x="1660525" y="4732867"/>
              <a:ext cx="4876800" cy="2077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C22F954-1D87-436F-A5A9-D0541938DB3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185" b="-1"/>
            <a:stretch/>
          </p:blipFill>
          <p:spPr bwMode="auto">
            <a:xfrm rot="5400000">
              <a:off x="9002183" y="2581804"/>
              <a:ext cx="4876800" cy="1502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F425A56-2CCE-4909-8AB3-844871F624B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20" t="10432" r="-2089" b="41651"/>
            <a:stretch/>
          </p:blipFill>
          <p:spPr bwMode="auto">
            <a:xfrm>
              <a:off x="6756717" y="4521199"/>
              <a:ext cx="4207192" cy="2336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57670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541395"/>
              </p:ext>
            </p:extLst>
          </p:nvPr>
        </p:nvGraphicFramePr>
        <p:xfrm>
          <a:off x="1960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0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34648" y="6669088"/>
            <a:ext cx="1099893" cy="188912"/>
          </a:xfrm>
        </p:spPr>
        <p:txBody>
          <a:bodyPr/>
          <a:lstStyle/>
          <a:p>
            <a:fld id="{10909890-F8C3-400A-8C8A-FCCAD85E9D1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34647" y="1628777"/>
            <a:ext cx="10722711" cy="4770439"/>
          </a:xfrm>
        </p:spPr>
        <p:txBody>
          <a:bodyPr>
            <a:noAutofit/>
          </a:bodyPr>
          <a:lstStyle>
            <a:lvl1pPr marL="166158" indent="-166158">
              <a:spcBef>
                <a:spcPts val="1108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77" baseline="0"/>
            </a:lvl1pPr>
            <a:lvl2pPr marL="332316" indent="-166158">
              <a:spcBef>
                <a:spcPts val="1108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77" baseline="0"/>
            </a:lvl2pPr>
            <a:lvl3pPr marL="498474" indent="-166158">
              <a:spcBef>
                <a:spcPts val="1108"/>
              </a:spcBef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247657" algn="l"/>
              </a:tabLst>
              <a:defRPr sz="1477" baseline="0"/>
            </a:lvl3pPr>
            <a:lvl4pPr marL="329720" indent="-82064">
              <a:spcBef>
                <a:spcPts val="554"/>
              </a:spcBef>
              <a:spcAft>
                <a:spcPts val="0"/>
              </a:spcAft>
              <a:defRPr sz="1292"/>
            </a:lvl4pPr>
            <a:lvl5pPr marL="411784" indent="-82064">
              <a:spcBef>
                <a:spcPts val="554"/>
              </a:spcBef>
              <a:spcAft>
                <a:spcPts val="0"/>
              </a:spcAft>
              <a:defRPr sz="1292"/>
            </a:lvl5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34647" y="1224006"/>
            <a:ext cx="10722711" cy="404775"/>
          </a:xfrm>
        </p:spPr>
        <p:txBody>
          <a:bodyPr vert="horz" lIns="0" tIns="0" rIns="0" bIns="0" rtlCol="0" anchor="t">
            <a:noAutofit/>
          </a:bodyPr>
          <a:lstStyle>
            <a:lvl1pPr marL="211021" indent="-211021">
              <a:buNone/>
              <a:defRPr lang="en-US" sz="1661" dirty="0">
                <a:solidFill>
                  <a:schemeClr val="accent3"/>
                </a:solidFill>
              </a:defRPr>
            </a:lvl1pPr>
          </a:lstStyle>
          <a:p>
            <a:pPr marL="0" lvl="0" indent="0">
              <a:spcAft>
                <a:spcPts val="461"/>
              </a:spcAft>
            </a:pPr>
            <a:r>
              <a:rPr lang="en-US"/>
              <a:t>Sub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734648" y="157652"/>
            <a:ext cx="804707" cy="170496"/>
          </a:xfrm>
        </p:spPr>
        <p:txBody>
          <a:bodyPr wrap="none">
            <a:spAutoFit/>
          </a:bodyPr>
          <a:lstStyle>
            <a:lvl1pPr marL="0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22042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844083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266124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688165" indent="0">
              <a:buNone/>
              <a:defRPr lang="en-GB" sz="1108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942158" y="6660841"/>
            <a:ext cx="617157" cy="113749"/>
          </a:xfrm>
        </p:spPr>
        <p:txBody>
          <a:bodyPr wrap="none">
            <a:spAutoFit/>
          </a:bodyPr>
          <a:lstStyle>
            <a:lvl1pPr marL="0" indent="0">
              <a:buNone/>
              <a:defRPr lang="en-US" sz="739" kern="1200" baseline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22042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844083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266124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688165" indent="0">
              <a:buNone/>
              <a:defRPr lang="en-GB" sz="1108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RHI </a:t>
            </a:r>
            <a:r>
              <a:rPr lang="en-US" err="1"/>
              <a:t>Magnesi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743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28962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81600" y="6516000"/>
            <a:ext cx="603974" cy="22792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fld id="{4E088A79-16B0-EB47-9803-132C51922F54}" type="slidenum">
              <a:rPr lang="en-US" sz="1000">
                <a:solidFill>
                  <a:srgbClr val="FFFFFF"/>
                </a:solidFill>
              </a:rPr>
              <a:pPr/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-823200" y="6516000"/>
            <a:ext cx="4579200" cy="201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tx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FFFFFF"/>
                </a:solidFill>
                <a:latin typeface="Arial"/>
              </a:rPr>
              <a:t>Strictly Private &amp; Confidential</a:t>
            </a:r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243285" y="6465868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27850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2736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584587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793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5935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D122A6A-E87D-4B92-904F-81FA3E9576D6}"/>
              </a:ext>
            </a:extLst>
          </p:cNvPr>
          <p:cNvSpPr/>
          <p:nvPr userDrawn="1"/>
        </p:nvSpPr>
        <p:spPr>
          <a:xfrm>
            <a:off x="1269186" y="1135976"/>
            <a:ext cx="9541689" cy="5173134"/>
          </a:xfrm>
          <a:custGeom>
            <a:avLst/>
            <a:gdLst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5173134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3589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0140 w 9208607"/>
              <a:gd name="connsiteY2" fmla="*/ 3716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9421"/>
              <a:gd name="connsiteY0" fmla="*/ 0 h 5173134"/>
              <a:gd name="connsiteX1" fmla="*/ 9208607 w 9209421"/>
              <a:gd name="connsiteY1" fmla="*/ 0 h 5173134"/>
              <a:gd name="connsiteX2" fmla="*/ 9208607 w 9209421"/>
              <a:gd name="connsiteY2" fmla="*/ 3759201 h 5173134"/>
              <a:gd name="connsiteX3" fmla="*/ 0 w 9209421"/>
              <a:gd name="connsiteY3" fmla="*/ 5173134 h 5173134"/>
              <a:gd name="connsiteX4" fmla="*/ 0 w 9209421"/>
              <a:gd name="connsiteY4" fmla="*/ 0 h 517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09421" h="5173134">
                <a:moveTo>
                  <a:pt x="0" y="0"/>
                </a:moveTo>
                <a:lnTo>
                  <a:pt x="9208607" y="0"/>
                </a:lnTo>
                <a:cubicBezTo>
                  <a:pt x="9205785" y="1238956"/>
                  <a:pt x="9211429" y="2520245"/>
                  <a:pt x="9208607" y="3759201"/>
                </a:cubicBezTo>
                <a:lnTo>
                  <a:pt x="0" y="517313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4AC5EFCF-D26B-487B-96D6-4700490C25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737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3">
            <a:extLst>
              <a:ext uri="{FF2B5EF4-FFF2-40B4-BE49-F238E27FC236}">
                <a16:creationId xmlns:a16="http://schemas.microsoft.com/office/drawing/2014/main" id="{CB1DA858-745B-4032-8500-4145C75561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pic>
        <p:nvPicPr>
          <p:cNvPr id="6" name="Picture 4" descr="Nelson Mandela, South Africa&amp;#39;s first black president in history, dies at 95">
            <a:extLst>
              <a:ext uri="{FF2B5EF4-FFF2-40B4-BE49-F238E27FC236}">
                <a16:creationId xmlns:a16="http://schemas.microsoft.com/office/drawing/2014/main" id="{0CE0486E-3187-4A07-9E57-70EF6DECE6D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-4685" r="-2712" b="4780"/>
          <a:stretch/>
        </p:blipFill>
        <p:spPr bwMode="auto">
          <a:xfrm>
            <a:off x="1" y="-305148"/>
            <a:ext cx="10769599" cy="7130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3155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343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75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580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988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98" imgH="499" progId="TCLayout.ActiveDocument.1">
                  <p:embed/>
                </p:oleObj>
              </mc:Choice>
              <mc:Fallback>
                <p:oleObj name="think-cell Slide" r:id="rId18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24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70" r:id="rId2"/>
    <p:sldLayoutId id="2147483699" r:id="rId3"/>
    <p:sldLayoutId id="2147483711" r:id="rId4"/>
    <p:sldLayoutId id="2147483985" r:id="rId5"/>
    <p:sldLayoutId id="2147483983" r:id="rId6"/>
    <p:sldLayoutId id="2147484017" r:id="rId7"/>
    <p:sldLayoutId id="2147483986" r:id="rId8"/>
    <p:sldLayoutId id="2147484018" r:id="rId9"/>
    <p:sldLayoutId id="2147484021" r:id="rId10"/>
    <p:sldLayoutId id="2147483987" r:id="rId11"/>
    <p:sldLayoutId id="2147484020" r:id="rId12"/>
    <p:sldLayoutId id="2147483991" r:id="rId13"/>
    <p:sldLayoutId id="2147484019" r:id="rId14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DB93BF36-213B-47FF-AD74-12BD8DA044F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arcador de texto 5">
            <a:extLst>
              <a:ext uri="{FF2B5EF4-FFF2-40B4-BE49-F238E27FC236}">
                <a16:creationId xmlns:a16="http://schemas.microsoft.com/office/drawing/2014/main" id="{4F9DB30C-B311-4C6B-A32E-4858E3288E77}"/>
              </a:ext>
            </a:extLst>
          </p:cNvPr>
          <p:cNvSpPr txBox="1">
            <a:spLocks/>
          </p:cNvSpPr>
          <p:nvPr/>
        </p:nvSpPr>
        <p:spPr>
          <a:xfrm>
            <a:off x="751791" y="2167546"/>
            <a:ext cx="10413514" cy="4064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4400" cap="all">
                <a:solidFill>
                  <a:srgbClr val="453192"/>
                </a:solidFill>
                <a:latin typeface="Arial"/>
                <a:cs typeface="Arial"/>
              </a:rPr>
              <a:t>CHALLENGE</a:t>
            </a:r>
          </a:p>
          <a:p>
            <a:r>
              <a:rPr lang="es-ES_tradnl" sz="4800" cap="all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Crescendo juntas</a:t>
            </a:r>
          </a:p>
          <a:p>
            <a:r>
              <a:rPr lang="pt-BR" sz="4800" cap="all" dirty="0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Nas</a:t>
            </a:r>
            <a:r>
              <a:rPr lang="es-ES_tradnl" sz="4800" cap="all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 américas</a:t>
            </a:r>
          </a:p>
          <a:p>
            <a:r>
              <a:rPr lang="pt-BR" b="0" cap="all">
                <a:solidFill>
                  <a:schemeClr val="bg1"/>
                </a:solidFill>
                <a:latin typeface="Arial"/>
                <a:cs typeface="Arial"/>
              </a:rPr>
              <a:t>Desafio da Transformação Digital para a Internacionalização</a:t>
            </a:r>
          </a:p>
          <a:p>
            <a:r>
              <a:rPr lang="es-ES_tradnl" b="0" cap="all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C814B732-139D-411F-B25D-7826D09F8C4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6695" y="1010652"/>
            <a:ext cx="2955591" cy="1690939"/>
          </a:xfrm>
          <a:prstGeom prst="rect">
            <a:avLst/>
          </a:prstGeom>
        </p:spPr>
      </p:pic>
      <p:pic>
        <p:nvPicPr>
          <p:cNvPr id="13" name="Picture 6">
            <a:extLst>
              <a:ext uri="{FF2B5EF4-FFF2-40B4-BE49-F238E27FC236}">
                <a16:creationId xmlns:a16="http://schemas.microsoft.com/office/drawing/2014/main" id="{B2FCE2D2-FCC1-4111-8F70-065A2D2577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225" y="5620207"/>
            <a:ext cx="1388232" cy="58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6787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220637" y="536669"/>
            <a:ext cx="1175072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IO EM GRUPO</a:t>
            </a:r>
            <a:r>
              <a:rPr lang="es-CO" sz="4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USTOMER JOURNEY”</a:t>
            </a:r>
            <a:endParaRPr lang="en-GB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0C4ECCF-9B28-475A-8668-643F413BD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342107"/>
              </p:ext>
            </p:extLst>
          </p:nvPr>
        </p:nvGraphicFramePr>
        <p:xfrm>
          <a:off x="1198033" y="3225919"/>
          <a:ext cx="9795934" cy="301921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897967">
                  <a:extLst>
                    <a:ext uri="{9D8B030D-6E8A-4147-A177-3AD203B41FA5}">
                      <a16:colId xmlns:a16="http://schemas.microsoft.com/office/drawing/2014/main" val="2726736430"/>
                    </a:ext>
                  </a:extLst>
                </a:gridCol>
                <a:gridCol w="4897967">
                  <a:extLst>
                    <a:ext uri="{9D8B030D-6E8A-4147-A177-3AD203B41FA5}">
                      <a16:colId xmlns:a16="http://schemas.microsoft.com/office/drawing/2014/main" val="728345699"/>
                    </a:ext>
                  </a:extLst>
                </a:gridCol>
              </a:tblGrid>
              <a:tr h="431316">
                <a:tc>
                  <a:txBody>
                    <a:bodyPr/>
                    <a:lstStyle/>
                    <a:p>
                      <a:r>
                        <a:rPr lang="es-CO" dirty="0"/>
                        <a:t>Nome comple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dirty="0"/>
                        <a:t>E-m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35045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504011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0299672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554175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0995841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158846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414125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46E46B2-8DA6-4180-BE6E-D6D94C9C18D5}"/>
              </a:ext>
            </a:extLst>
          </p:cNvPr>
          <p:cNvSpPr txBox="1"/>
          <p:nvPr/>
        </p:nvSpPr>
        <p:spPr>
          <a:xfrm>
            <a:off x="639233" y="1611936"/>
            <a:ext cx="10752264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tabela abaixo, por favor insira os </a:t>
            </a:r>
            <a:r>
              <a:rPr lang="pt-BR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es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pt-BR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ndereços de e-mail 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membros do grupo.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 informação será usada para conceder a pontuação do desafio na Academia </a:t>
            </a:r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Americas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or isso é muito importante que você insira </a:t>
            </a:r>
            <a:r>
              <a:rPr lang="pt-BR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 dados exatamente como estão na Academia. </a:t>
            </a:r>
            <a:endParaRPr lang="en-GB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568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53451" y="362193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ÇÕ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6E46B2-8DA6-4180-BE6E-D6D94C9C18D5}"/>
              </a:ext>
            </a:extLst>
          </p:cNvPr>
          <p:cNvSpPr txBox="1"/>
          <p:nvPr/>
        </p:nvSpPr>
        <p:spPr>
          <a:xfrm>
            <a:off x="639233" y="1437460"/>
            <a:ext cx="10752264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este primeiro desafio de grupo vocês terão que desenvolver uma </a:t>
            </a:r>
            <a:r>
              <a:rPr lang="pt-BR" b="1" i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“customer journey”</a:t>
            </a:r>
            <a:r>
              <a:rPr lang="pt-BR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jornada do cliente) para o negócio de </a:t>
            </a:r>
            <a:r>
              <a:rPr lang="pt-BR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 (1) das participantes do grupo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recomendável aplicar a seguinte dinâmica de consultoria: 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807FA6B-29BF-428C-875A-43AB91CF3674}"/>
              </a:ext>
            </a:extLst>
          </p:cNvPr>
          <p:cNvSpPr/>
          <p:nvPr/>
        </p:nvSpPr>
        <p:spPr>
          <a:xfrm>
            <a:off x="986194" y="2875692"/>
            <a:ext cx="10122073" cy="1746676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bg1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9AC83A0-A20D-4A6B-8729-5097ABD46F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6537349"/>
              </p:ext>
            </p:extLst>
          </p:nvPr>
        </p:nvGraphicFramePr>
        <p:xfrm>
          <a:off x="1479378" y="2971790"/>
          <a:ext cx="9482666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82666">
                  <a:extLst>
                    <a:ext uri="{9D8B030D-6E8A-4147-A177-3AD203B41FA5}">
                      <a16:colId xmlns:a16="http://schemas.microsoft.com/office/drawing/2014/main" val="345132174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t-BR" sz="16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nâmica de consultoria: 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participante que representa a empresa selecionada terá o papel de "cliente"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 demais mulheres atuarão como "consultoras"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pt-BR" sz="1600" b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atividade consiste no "cliente" apresentando o estado de seu negócio com base nas exigências da ferramenta, enquanto as consultoras fazem perguntas-chave que enriqueçam o negócio do cliente e ampliem o conhecimento do grupo.</a:t>
                      </a:r>
                    </a:p>
                  </a:txBody>
                  <a:tcPr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3950455"/>
                  </a:ext>
                </a:extLst>
              </a:tr>
            </a:tbl>
          </a:graphicData>
        </a:graphic>
      </p:graphicFrame>
      <p:pic>
        <p:nvPicPr>
          <p:cNvPr id="8" name="Gráfico 2">
            <a:extLst>
              <a:ext uri="{FF2B5EF4-FFF2-40B4-BE49-F238E27FC236}">
                <a16:creationId xmlns:a16="http://schemas.microsoft.com/office/drawing/2014/main" id="{75EB8263-EF49-4F0B-A650-51E58D99C9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9233" y="2888925"/>
            <a:ext cx="693923" cy="67765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D334509-8071-4DDA-8AA5-4A11F7D38E21}"/>
              </a:ext>
            </a:extLst>
          </p:cNvPr>
          <p:cNvSpPr txBox="1"/>
          <p:nvPr/>
        </p:nvSpPr>
        <p:spPr>
          <a:xfrm>
            <a:off x="639233" y="4843776"/>
            <a:ext cx="10752264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essoa assessorada “cliente” pode envolver mais pessoas de sua empresa na construção da jornada do cliente.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formato de entrega é gratuito. Vocês podem desenvolver a jornada do cliente em uma ferramenta digital ou mesmo manualmente usando o </a:t>
            </a:r>
            <a:r>
              <a:rPr lang="pt-BR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-its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Este é um exercício criativo, não se limitem!</a:t>
            </a:r>
          </a:p>
        </p:txBody>
      </p:sp>
    </p:spTree>
    <p:extLst>
      <p:ext uri="{BB962C8B-B14F-4D97-AF65-F5344CB8AC3E}">
        <p14:creationId xmlns:p14="http://schemas.microsoft.com/office/powerpoint/2010/main" val="3308792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E24824E-F86D-4BF1-A73F-457CD5F4A18D}"/>
              </a:ext>
            </a:extLst>
          </p:cNvPr>
          <p:cNvSpPr txBox="1"/>
          <p:nvPr/>
        </p:nvSpPr>
        <p:spPr>
          <a:xfrm>
            <a:off x="639233" y="1415484"/>
            <a:ext cx="11358034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este desafio, é necessário apresentar uma </a:t>
            </a:r>
            <a:r>
              <a:rPr lang="pt-BR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“customer journey”</a:t>
            </a: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a caracterização da </a:t>
            </a:r>
            <a:r>
              <a:rPr lang="pt-BR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ersona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a. Os modelos de persona e de jornada do cliente podem ser encontrados nas páginas seguintes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ora não seja necessário utilizar estes modelos, espera-se que </a:t>
            </a:r>
            <a:r>
              <a:rPr lang="pt-BR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s as informações necessárias sejam incluídas</a:t>
            </a: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dependentemente do formato utilizado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	</a:t>
            </a:r>
          </a:p>
          <a:p>
            <a:pPr lvl="2">
              <a:lnSpc>
                <a:spcPct val="150000"/>
              </a:lnSpc>
              <a:defRPr/>
            </a:pP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informação mínima exigida estará marcada com uma seta branca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mas ferramentas digitais que podem lhes ajudar a construir a jornada do cliente são: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idchart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ral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o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etch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be XD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ma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CFF70544-672F-42EA-B13B-30140B1916E6}"/>
              </a:ext>
            </a:extLst>
          </p:cNvPr>
          <p:cNvSpPr/>
          <p:nvPr/>
        </p:nvSpPr>
        <p:spPr>
          <a:xfrm>
            <a:off x="1123078" y="3206549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 dirty="0">
              <a:solidFill>
                <a:schemeClr val="tx1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8EA5FB2-E061-4F05-8F80-5F71CF64B337}"/>
              </a:ext>
            </a:extLst>
          </p:cNvPr>
          <p:cNvSpPr/>
          <p:nvPr/>
        </p:nvSpPr>
        <p:spPr>
          <a:xfrm>
            <a:off x="3310467" y="4544363"/>
            <a:ext cx="7916334" cy="1685634"/>
          </a:xfrm>
          <a:custGeom>
            <a:avLst/>
            <a:gdLst>
              <a:gd name="connsiteX0" fmla="*/ 0 w 7916334"/>
              <a:gd name="connsiteY0" fmla="*/ 280945 h 1685634"/>
              <a:gd name="connsiteX1" fmla="*/ 280945 w 7916334"/>
              <a:gd name="connsiteY1" fmla="*/ 0 h 1685634"/>
              <a:gd name="connsiteX2" fmla="*/ 875986 w 7916334"/>
              <a:gd name="connsiteY2" fmla="*/ 0 h 1685634"/>
              <a:gd name="connsiteX3" fmla="*/ 1397483 w 7916334"/>
              <a:gd name="connsiteY3" fmla="*/ 0 h 1685634"/>
              <a:gd name="connsiteX4" fmla="*/ 2066069 w 7916334"/>
              <a:gd name="connsiteY4" fmla="*/ 0 h 1685634"/>
              <a:gd name="connsiteX5" fmla="*/ 2881744 w 7916334"/>
              <a:gd name="connsiteY5" fmla="*/ 0 h 1685634"/>
              <a:gd name="connsiteX6" fmla="*/ 3623874 w 7916334"/>
              <a:gd name="connsiteY6" fmla="*/ 0 h 1685634"/>
              <a:gd name="connsiteX7" fmla="*/ 4292460 w 7916334"/>
              <a:gd name="connsiteY7" fmla="*/ 0 h 1685634"/>
              <a:gd name="connsiteX8" fmla="*/ 4887501 w 7916334"/>
              <a:gd name="connsiteY8" fmla="*/ 0 h 1685634"/>
              <a:gd name="connsiteX9" fmla="*/ 5629632 w 7916334"/>
              <a:gd name="connsiteY9" fmla="*/ 0 h 1685634"/>
              <a:gd name="connsiteX10" fmla="*/ 6371762 w 7916334"/>
              <a:gd name="connsiteY10" fmla="*/ 0 h 1685634"/>
              <a:gd name="connsiteX11" fmla="*/ 7635389 w 7916334"/>
              <a:gd name="connsiteY11" fmla="*/ 0 h 1685634"/>
              <a:gd name="connsiteX12" fmla="*/ 7916334 w 7916334"/>
              <a:gd name="connsiteY12" fmla="*/ 280945 h 1685634"/>
              <a:gd name="connsiteX13" fmla="*/ 7916334 w 7916334"/>
              <a:gd name="connsiteY13" fmla="*/ 820342 h 1685634"/>
              <a:gd name="connsiteX14" fmla="*/ 7916334 w 7916334"/>
              <a:gd name="connsiteY14" fmla="*/ 1404689 h 1685634"/>
              <a:gd name="connsiteX15" fmla="*/ 7635389 w 7916334"/>
              <a:gd name="connsiteY15" fmla="*/ 1685634 h 1685634"/>
              <a:gd name="connsiteX16" fmla="*/ 6966803 w 7916334"/>
              <a:gd name="connsiteY16" fmla="*/ 1685634 h 1685634"/>
              <a:gd name="connsiteX17" fmla="*/ 6445306 w 7916334"/>
              <a:gd name="connsiteY17" fmla="*/ 1685634 h 1685634"/>
              <a:gd name="connsiteX18" fmla="*/ 5703176 w 7916334"/>
              <a:gd name="connsiteY18" fmla="*/ 1685634 h 1685634"/>
              <a:gd name="connsiteX19" fmla="*/ 5181679 w 7916334"/>
              <a:gd name="connsiteY19" fmla="*/ 1685634 h 1685634"/>
              <a:gd name="connsiteX20" fmla="*/ 4366004 w 7916334"/>
              <a:gd name="connsiteY20" fmla="*/ 1685634 h 1685634"/>
              <a:gd name="connsiteX21" fmla="*/ 3550330 w 7916334"/>
              <a:gd name="connsiteY21" fmla="*/ 1685634 h 1685634"/>
              <a:gd name="connsiteX22" fmla="*/ 3028833 w 7916334"/>
              <a:gd name="connsiteY22" fmla="*/ 1685634 h 1685634"/>
              <a:gd name="connsiteX23" fmla="*/ 2360247 w 7916334"/>
              <a:gd name="connsiteY23" fmla="*/ 1685634 h 1685634"/>
              <a:gd name="connsiteX24" fmla="*/ 1691661 w 7916334"/>
              <a:gd name="connsiteY24" fmla="*/ 1685634 h 1685634"/>
              <a:gd name="connsiteX25" fmla="*/ 1243709 w 7916334"/>
              <a:gd name="connsiteY25" fmla="*/ 1685634 h 1685634"/>
              <a:gd name="connsiteX26" fmla="*/ 280945 w 7916334"/>
              <a:gd name="connsiteY26" fmla="*/ 1685634 h 1685634"/>
              <a:gd name="connsiteX27" fmla="*/ 0 w 7916334"/>
              <a:gd name="connsiteY27" fmla="*/ 1404689 h 1685634"/>
              <a:gd name="connsiteX28" fmla="*/ 0 w 7916334"/>
              <a:gd name="connsiteY28" fmla="*/ 820342 h 1685634"/>
              <a:gd name="connsiteX29" fmla="*/ 0 w 7916334"/>
              <a:gd name="connsiteY29" fmla="*/ 280945 h 1685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7916334" h="1685634" fill="none" extrusionOk="0">
                <a:moveTo>
                  <a:pt x="0" y="280945"/>
                </a:moveTo>
                <a:cubicBezTo>
                  <a:pt x="8686" y="112388"/>
                  <a:pt x="123905" y="12078"/>
                  <a:pt x="280945" y="0"/>
                </a:cubicBezTo>
                <a:cubicBezTo>
                  <a:pt x="526443" y="-6273"/>
                  <a:pt x="586624" y="-21946"/>
                  <a:pt x="875986" y="0"/>
                </a:cubicBezTo>
                <a:cubicBezTo>
                  <a:pt x="1165348" y="21946"/>
                  <a:pt x="1240520" y="-16083"/>
                  <a:pt x="1397483" y="0"/>
                </a:cubicBezTo>
                <a:cubicBezTo>
                  <a:pt x="1554446" y="16083"/>
                  <a:pt x="1817193" y="33048"/>
                  <a:pt x="2066069" y="0"/>
                </a:cubicBezTo>
                <a:cubicBezTo>
                  <a:pt x="2314945" y="-33048"/>
                  <a:pt x="2690987" y="-5942"/>
                  <a:pt x="2881744" y="0"/>
                </a:cubicBezTo>
                <a:cubicBezTo>
                  <a:pt x="3072501" y="5942"/>
                  <a:pt x="3263180" y="-13338"/>
                  <a:pt x="3623874" y="0"/>
                </a:cubicBezTo>
                <a:cubicBezTo>
                  <a:pt x="3984568" y="13338"/>
                  <a:pt x="4039823" y="9396"/>
                  <a:pt x="4292460" y="0"/>
                </a:cubicBezTo>
                <a:cubicBezTo>
                  <a:pt x="4545097" y="-9396"/>
                  <a:pt x="4725759" y="-25974"/>
                  <a:pt x="4887501" y="0"/>
                </a:cubicBezTo>
                <a:cubicBezTo>
                  <a:pt x="5049243" y="25974"/>
                  <a:pt x="5470497" y="-17084"/>
                  <a:pt x="5629632" y="0"/>
                </a:cubicBezTo>
                <a:cubicBezTo>
                  <a:pt x="5788767" y="17084"/>
                  <a:pt x="6018312" y="1864"/>
                  <a:pt x="6371762" y="0"/>
                </a:cubicBezTo>
                <a:cubicBezTo>
                  <a:pt x="6725212" y="-1864"/>
                  <a:pt x="7291115" y="45047"/>
                  <a:pt x="7635389" y="0"/>
                </a:cubicBezTo>
                <a:cubicBezTo>
                  <a:pt x="7771528" y="19448"/>
                  <a:pt x="7912878" y="94815"/>
                  <a:pt x="7916334" y="280945"/>
                </a:cubicBezTo>
                <a:cubicBezTo>
                  <a:pt x="7917585" y="520666"/>
                  <a:pt x="7898843" y="689552"/>
                  <a:pt x="7916334" y="820342"/>
                </a:cubicBezTo>
                <a:cubicBezTo>
                  <a:pt x="7933825" y="951132"/>
                  <a:pt x="7927545" y="1207443"/>
                  <a:pt x="7916334" y="1404689"/>
                </a:cubicBezTo>
                <a:cubicBezTo>
                  <a:pt x="7917131" y="1532366"/>
                  <a:pt x="7798011" y="1684424"/>
                  <a:pt x="7635389" y="1685634"/>
                </a:cubicBezTo>
                <a:cubicBezTo>
                  <a:pt x="7320177" y="1687384"/>
                  <a:pt x="7217246" y="1706661"/>
                  <a:pt x="6966803" y="1685634"/>
                </a:cubicBezTo>
                <a:cubicBezTo>
                  <a:pt x="6716360" y="1664607"/>
                  <a:pt x="6558210" y="1704627"/>
                  <a:pt x="6445306" y="1685634"/>
                </a:cubicBezTo>
                <a:cubicBezTo>
                  <a:pt x="6332402" y="1666641"/>
                  <a:pt x="5905520" y="1658854"/>
                  <a:pt x="5703176" y="1685634"/>
                </a:cubicBezTo>
                <a:cubicBezTo>
                  <a:pt x="5500832" y="1712415"/>
                  <a:pt x="5410441" y="1710631"/>
                  <a:pt x="5181679" y="1685634"/>
                </a:cubicBezTo>
                <a:cubicBezTo>
                  <a:pt x="4952917" y="1660637"/>
                  <a:pt x="4545398" y="1679211"/>
                  <a:pt x="4366004" y="1685634"/>
                </a:cubicBezTo>
                <a:cubicBezTo>
                  <a:pt x="4186611" y="1692057"/>
                  <a:pt x="3741508" y="1661439"/>
                  <a:pt x="3550330" y="1685634"/>
                </a:cubicBezTo>
                <a:cubicBezTo>
                  <a:pt x="3359152" y="1709829"/>
                  <a:pt x="3269414" y="1704460"/>
                  <a:pt x="3028833" y="1685634"/>
                </a:cubicBezTo>
                <a:cubicBezTo>
                  <a:pt x="2788252" y="1666808"/>
                  <a:pt x="2538203" y="1694599"/>
                  <a:pt x="2360247" y="1685634"/>
                </a:cubicBezTo>
                <a:cubicBezTo>
                  <a:pt x="2182291" y="1676669"/>
                  <a:pt x="1923377" y="1659041"/>
                  <a:pt x="1691661" y="1685634"/>
                </a:cubicBezTo>
                <a:cubicBezTo>
                  <a:pt x="1459945" y="1712227"/>
                  <a:pt x="1380054" y="1694010"/>
                  <a:pt x="1243709" y="1685634"/>
                </a:cubicBezTo>
                <a:cubicBezTo>
                  <a:pt x="1107364" y="1677258"/>
                  <a:pt x="529708" y="1668238"/>
                  <a:pt x="280945" y="1685634"/>
                </a:cubicBezTo>
                <a:cubicBezTo>
                  <a:pt x="133183" y="1711476"/>
                  <a:pt x="-7859" y="1568247"/>
                  <a:pt x="0" y="1404689"/>
                </a:cubicBezTo>
                <a:cubicBezTo>
                  <a:pt x="-13873" y="1226108"/>
                  <a:pt x="-553" y="1088649"/>
                  <a:pt x="0" y="820342"/>
                </a:cubicBezTo>
                <a:cubicBezTo>
                  <a:pt x="553" y="552035"/>
                  <a:pt x="-107" y="498928"/>
                  <a:pt x="0" y="280945"/>
                </a:cubicBezTo>
                <a:close/>
              </a:path>
              <a:path w="7916334" h="1685634" stroke="0" extrusionOk="0">
                <a:moveTo>
                  <a:pt x="0" y="280945"/>
                </a:moveTo>
                <a:cubicBezTo>
                  <a:pt x="-13003" y="139007"/>
                  <a:pt x="102217" y="7689"/>
                  <a:pt x="280945" y="0"/>
                </a:cubicBezTo>
                <a:cubicBezTo>
                  <a:pt x="424231" y="13003"/>
                  <a:pt x="606264" y="-18978"/>
                  <a:pt x="802442" y="0"/>
                </a:cubicBezTo>
                <a:cubicBezTo>
                  <a:pt x="998620" y="18978"/>
                  <a:pt x="1219701" y="11718"/>
                  <a:pt x="1397483" y="0"/>
                </a:cubicBezTo>
                <a:cubicBezTo>
                  <a:pt x="1575265" y="-11718"/>
                  <a:pt x="1715441" y="-17853"/>
                  <a:pt x="1845436" y="0"/>
                </a:cubicBezTo>
                <a:cubicBezTo>
                  <a:pt x="1975431" y="17853"/>
                  <a:pt x="2346732" y="-24439"/>
                  <a:pt x="2587566" y="0"/>
                </a:cubicBezTo>
                <a:cubicBezTo>
                  <a:pt x="2828400" y="24439"/>
                  <a:pt x="2986513" y="2689"/>
                  <a:pt x="3256152" y="0"/>
                </a:cubicBezTo>
                <a:cubicBezTo>
                  <a:pt x="3525791" y="-2689"/>
                  <a:pt x="3660342" y="-27038"/>
                  <a:pt x="3998282" y="0"/>
                </a:cubicBezTo>
                <a:cubicBezTo>
                  <a:pt x="4336222" y="27038"/>
                  <a:pt x="4463550" y="-13513"/>
                  <a:pt x="4813957" y="0"/>
                </a:cubicBezTo>
                <a:cubicBezTo>
                  <a:pt x="5164364" y="13513"/>
                  <a:pt x="5264492" y="10308"/>
                  <a:pt x="5482543" y="0"/>
                </a:cubicBezTo>
                <a:cubicBezTo>
                  <a:pt x="5700594" y="-10308"/>
                  <a:pt x="5876220" y="27483"/>
                  <a:pt x="6224673" y="0"/>
                </a:cubicBezTo>
                <a:cubicBezTo>
                  <a:pt x="6573126" y="-27483"/>
                  <a:pt x="6605784" y="702"/>
                  <a:pt x="6966803" y="0"/>
                </a:cubicBezTo>
                <a:cubicBezTo>
                  <a:pt x="7327822" y="-702"/>
                  <a:pt x="7420701" y="-20252"/>
                  <a:pt x="7635389" y="0"/>
                </a:cubicBezTo>
                <a:cubicBezTo>
                  <a:pt x="7810733" y="-7051"/>
                  <a:pt x="7920233" y="116248"/>
                  <a:pt x="7916334" y="280945"/>
                </a:cubicBezTo>
                <a:cubicBezTo>
                  <a:pt x="7899855" y="449367"/>
                  <a:pt x="7910690" y="595485"/>
                  <a:pt x="7916334" y="831580"/>
                </a:cubicBezTo>
                <a:cubicBezTo>
                  <a:pt x="7921978" y="1067675"/>
                  <a:pt x="7894503" y="1179226"/>
                  <a:pt x="7916334" y="1404689"/>
                </a:cubicBezTo>
                <a:cubicBezTo>
                  <a:pt x="7919227" y="1569254"/>
                  <a:pt x="7786898" y="1671161"/>
                  <a:pt x="7635389" y="1685634"/>
                </a:cubicBezTo>
                <a:cubicBezTo>
                  <a:pt x="7303704" y="1716693"/>
                  <a:pt x="7130494" y="1681264"/>
                  <a:pt x="6966803" y="1685634"/>
                </a:cubicBezTo>
                <a:cubicBezTo>
                  <a:pt x="6803112" y="1690004"/>
                  <a:pt x="6422209" y="1679518"/>
                  <a:pt x="6224673" y="1685634"/>
                </a:cubicBezTo>
                <a:cubicBezTo>
                  <a:pt x="6027137" y="1691751"/>
                  <a:pt x="5926754" y="1695106"/>
                  <a:pt x="5776720" y="1685634"/>
                </a:cubicBezTo>
                <a:cubicBezTo>
                  <a:pt x="5626686" y="1676162"/>
                  <a:pt x="5424174" y="1669907"/>
                  <a:pt x="5255223" y="1685634"/>
                </a:cubicBezTo>
                <a:cubicBezTo>
                  <a:pt x="5086272" y="1701361"/>
                  <a:pt x="4667209" y="1714754"/>
                  <a:pt x="4439549" y="1685634"/>
                </a:cubicBezTo>
                <a:cubicBezTo>
                  <a:pt x="4211889" y="1656514"/>
                  <a:pt x="4102094" y="1703913"/>
                  <a:pt x="3770963" y="1685634"/>
                </a:cubicBezTo>
                <a:cubicBezTo>
                  <a:pt x="3439832" y="1667355"/>
                  <a:pt x="3365912" y="1694124"/>
                  <a:pt x="3028833" y="1685634"/>
                </a:cubicBezTo>
                <a:cubicBezTo>
                  <a:pt x="2691754" y="1677145"/>
                  <a:pt x="2591610" y="1659600"/>
                  <a:pt x="2433791" y="1685634"/>
                </a:cubicBezTo>
                <a:cubicBezTo>
                  <a:pt x="2275972" y="1711668"/>
                  <a:pt x="1959429" y="1703281"/>
                  <a:pt x="1691661" y="1685634"/>
                </a:cubicBezTo>
                <a:cubicBezTo>
                  <a:pt x="1423893" y="1667988"/>
                  <a:pt x="1260851" y="1681770"/>
                  <a:pt x="1096620" y="1685634"/>
                </a:cubicBezTo>
                <a:cubicBezTo>
                  <a:pt x="932389" y="1689498"/>
                  <a:pt x="616784" y="1659176"/>
                  <a:pt x="280945" y="1685634"/>
                </a:cubicBezTo>
                <a:cubicBezTo>
                  <a:pt x="116665" y="1676301"/>
                  <a:pt x="-4228" y="1572424"/>
                  <a:pt x="0" y="1404689"/>
                </a:cubicBezTo>
                <a:cubicBezTo>
                  <a:pt x="-19867" y="1281009"/>
                  <a:pt x="-21464" y="1058349"/>
                  <a:pt x="0" y="876529"/>
                </a:cubicBezTo>
                <a:cubicBezTo>
                  <a:pt x="21464" y="694709"/>
                  <a:pt x="-17976" y="403049"/>
                  <a:pt x="0" y="280945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extLst>
              <a:ext uri="{C807C97D-BFC1-408E-A445-0C87EB9F89A2}">
                <ask:lineSketchStyleProps xmlns:ask="http://schemas.microsoft.com/office/drawing/2018/sketchyshapes" sd="3403945204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endamos que escolham as ferramentas com as quais se sentam confortáveis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ão gastem muito tempo aprendendo a usar ferramentas muito complexas.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pt-B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s de começar, verifiquem as restrições de cada ferramenta (algumas podem exigir pagamento por certas funcionalidades).</a:t>
            </a:r>
            <a:endParaRPr lang="es-CO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Graphic 3" descr="Lights On with solid fill">
            <a:extLst>
              <a:ext uri="{FF2B5EF4-FFF2-40B4-BE49-F238E27FC236}">
                <a16:creationId xmlns:a16="http://schemas.microsoft.com/office/drawing/2014/main" id="{FE185935-83F9-42E2-BE95-6DF020A0FF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62867" y="4929980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2E0B432-0417-454C-AE55-3BA2111273C6}"/>
              </a:ext>
            </a:extLst>
          </p:cNvPr>
          <p:cNvSpPr txBox="1"/>
          <p:nvPr/>
        </p:nvSpPr>
        <p:spPr>
          <a:xfrm>
            <a:off x="553451" y="362193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ÇÕES</a:t>
            </a:r>
          </a:p>
        </p:txBody>
      </p:sp>
    </p:spTree>
    <p:extLst>
      <p:ext uri="{BB962C8B-B14F-4D97-AF65-F5344CB8AC3E}">
        <p14:creationId xmlns:p14="http://schemas.microsoft.com/office/powerpoint/2010/main" val="2318814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D3B507D-B343-498F-97D5-78CBF4589AAB}"/>
              </a:ext>
            </a:extLst>
          </p:cNvPr>
          <p:cNvSpPr txBox="1"/>
          <p:nvPr/>
        </p:nvSpPr>
        <p:spPr>
          <a:xfrm>
            <a:off x="633680" y="179261"/>
            <a:ext cx="99156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 - PERSONA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C912CE1-71EF-4250-8EA0-0DDA67063F18}"/>
              </a:ext>
            </a:extLst>
          </p:cNvPr>
          <p:cNvSpPr/>
          <p:nvPr/>
        </p:nvSpPr>
        <p:spPr>
          <a:xfrm>
            <a:off x="421334" y="4128043"/>
            <a:ext cx="2584334" cy="2550696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t-BR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dos demográficos </a:t>
            </a:r>
            <a:endParaRPr lang="pt-BR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t-BR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46C1083-1642-4043-8CB4-E3CEDA2CFB1E}"/>
              </a:ext>
            </a:extLst>
          </p:cNvPr>
          <p:cNvSpPr/>
          <p:nvPr/>
        </p:nvSpPr>
        <p:spPr>
          <a:xfrm>
            <a:off x="335795" y="3544067"/>
            <a:ext cx="3031958" cy="3551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t-B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Frase característica”</a:t>
            </a:r>
            <a:endParaRPr lang="pt-BR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t-BR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2A1B381-8D93-4A35-BB90-6547B7AF5416}"/>
              </a:ext>
            </a:extLst>
          </p:cNvPr>
          <p:cNvSpPr/>
          <p:nvPr/>
        </p:nvSpPr>
        <p:spPr>
          <a:xfrm>
            <a:off x="3701944" y="833049"/>
            <a:ext cx="3833033" cy="35515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e</a:t>
            </a:r>
            <a:endParaRPr lang="pt-BR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D059A3F-9F75-4168-8707-F65A92010CB3}"/>
              </a:ext>
            </a:extLst>
          </p:cNvPr>
          <p:cNvSpPr/>
          <p:nvPr/>
        </p:nvSpPr>
        <p:spPr>
          <a:xfrm>
            <a:off x="3701944" y="1380325"/>
            <a:ext cx="7856376" cy="88792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órico</a:t>
            </a:r>
          </a:p>
          <a:p>
            <a:endParaRPr lang="pt-B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3DD6027A-F97B-4C13-8192-41677BFDC63C}"/>
              </a:ext>
            </a:extLst>
          </p:cNvPr>
          <p:cNvSpPr/>
          <p:nvPr/>
        </p:nvSpPr>
        <p:spPr>
          <a:xfrm>
            <a:off x="3701944" y="2541069"/>
            <a:ext cx="7856376" cy="103066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1A64BB7-1DB4-41FC-9EB1-B443634F2116}"/>
              </a:ext>
            </a:extLst>
          </p:cNvPr>
          <p:cNvSpPr/>
          <p:nvPr/>
        </p:nvSpPr>
        <p:spPr>
          <a:xfrm>
            <a:off x="3701944" y="3781995"/>
            <a:ext cx="7856376" cy="1417137"/>
          </a:xfrm>
          <a:prstGeom prst="rect">
            <a:avLst/>
          </a:prstGeom>
          <a:solidFill>
            <a:srgbClr val="D4BFF8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ções</a:t>
            </a:r>
          </a:p>
          <a:p>
            <a:endParaRPr lang="pt-BR" sz="1600" b="1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BDF7D48-EAED-4B84-A1DC-098864858910}"/>
              </a:ext>
            </a:extLst>
          </p:cNvPr>
          <p:cNvSpPr/>
          <p:nvPr/>
        </p:nvSpPr>
        <p:spPr>
          <a:xfrm>
            <a:off x="3701944" y="5409397"/>
            <a:ext cx="7856376" cy="1269341"/>
          </a:xfrm>
          <a:prstGeom prst="rect">
            <a:avLst/>
          </a:prstGeom>
          <a:solidFill>
            <a:srgbClr val="EA3A55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ustrações</a:t>
            </a:r>
          </a:p>
          <a:p>
            <a:endParaRPr lang="pt-B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CDC28B1-3ACD-412A-9181-EE82D994C5FB}"/>
              </a:ext>
            </a:extLst>
          </p:cNvPr>
          <p:cNvCxnSpPr/>
          <p:nvPr/>
        </p:nvCxnSpPr>
        <p:spPr>
          <a:xfrm>
            <a:off x="965200" y="4783568"/>
            <a:ext cx="1066800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78D7933-7CBF-4273-A322-845C29D2A6D3}"/>
              </a:ext>
            </a:extLst>
          </p:cNvPr>
          <p:cNvCxnSpPr/>
          <p:nvPr/>
        </p:nvCxnSpPr>
        <p:spPr>
          <a:xfrm>
            <a:off x="965200" y="5147707"/>
            <a:ext cx="1066800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C353DFB-E651-4E60-B98C-190D9832BC88}"/>
              </a:ext>
            </a:extLst>
          </p:cNvPr>
          <p:cNvCxnSpPr/>
          <p:nvPr/>
        </p:nvCxnSpPr>
        <p:spPr>
          <a:xfrm>
            <a:off x="965200" y="5520168"/>
            <a:ext cx="1066800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82D773D-340D-412D-AA74-4877CA5C1764}"/>
              </a:ext>
            </a:extLst>
          </p:cNvPr>
          <p:cNvCxnSpPr/>
          <p:nvPr/>
        </p:nvCxnSpPr>
        <p:spPr>
          <a:xfrm>
            <a:off x="965200" y="5926568"/>
            <a:ext cx="1066800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520948AB-A8D3-4981-9806-5E6F483F06BE}"/>
              </a:ext>
            </a:extLst>
          </p:cNvPr>
          <p:cNvCxnSpPr/>
          <p:nvPr/>
        </p:nvCxnSpPr>
        <p:spPr>
          <a:xfrm>
            <a:off x="965200" y="6256768"/>
            <a:ext cx="1066800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3F6BB03A-9D90-4B2D-A0B2-C265AB00B4C1}"/>
              </a:ext>
            </a:extLst>
          </p:cNvPr>
          <p:cNvSpPr/>
          <p:nvPr/>
        </p:nvSpPr>
        <p:spPr>
          <a:xfrm>
            <a:off x="699617" y="1013386"/>
            <a:ext cx="2143387" cy="2151946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TO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C4406A5-C00B-4FD4-B900-3DF7405E4240}"/>
              </a:ext>
            </a:extLst>
          </p:cNvPr>
          <p:cNvSpPr/>
          <p:nvPr/>
        </p:nvSpPr>
        <p:spPr>
          <a:xfrm>
            <a:off x="3282215" y="908435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00">
              <a:solidFill>
                <a:schemeClr val="tx1"/>
              </a:solidFill>
            </a:endParaRP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0ADDEE75-6ABC-4665-BA8C-6E9C49F01F2A}"/>
              </a:ext>
            </a:extLst>
          </p:cNvPr>
          <p:cNvSpPr/>
          <p:nvPr/>
        </p:nvSpPr>
        <p:spPr>
          <a:xfrm>
            <a:off x="3282215" y="1398395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00">
              <a:solidFill>
                <a:schemeClr val="tx1"/>
              </a:solidFill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D780F2E8-6370-46C5-8F64-DACAF21B65BB}"/>
              </a:ext>
            </a:extLst>
          </p:cNvPr>
          <p:cNvSpPr/>
          <p:nvPr/>
        </p:nvSpPr>
        <p:spPr>
          <a:xfrm>
            <a:off x="3282215" y="2577458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00">
              <a:solidFill>
                <a:schemeClr val="tx1"/>
              </a:solidFill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F145CD1F-2C2C-44B5-AD05-046A21800F11}"/>
              </a:ext>
            </a:extLst>
          </p:cNvPr>
          <p:cNvSpPr/>
          <p:nvPr/>
        </p:nvSpPr>
        <p:spPr>
          <a:xfrm>
            <a:off x="3282215" y="3787995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00">
              <a:solidFill>
                <a:schemeClr val="tx1"/>
              </a:solidFill>
            </a:endParaRP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6F400DA5-9A01-4253-B563-3CC5E567F206}"/>
              </a:ext>
            </a:extLst>
          </p:cNvPr>
          <p:cNvSpPr/>
          <p:nvPr/>
        </p:nvSpPr>
        <p:spPr>
          <a:xfrm>
            <a:off x="3282215" y="5459605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t-BR" sz="1200">
                <a:solidFill>
                  <a:schemeClr val="tx1"/>
                </a:solidFill>
              </a:rPr>
              <a:t>v</a:t>
            </a:r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01F1AC42-BC30-4C91-8933-CB5CABA305E7}"/>
              </a:ext>
            </a:extLst>
          </p:cNvPr>
          <p:cNvSpPr/>
          <p:nvPr/>
        </p:nvSpPr>
        <p:spPr>
          <a:xfrm>
            <a:off x="516400" y="4166730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t-BR" sz="1200">
                <a:solidFill>
                  <a:schemeClr val="tx1"/>
                </a:solidFill>
              </a:rPr>
              <a:t>v</a:t>
            </a: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6D6F1EE0-E6F0-49E7-9071-7A6CA4538982}"/>
              </a:ext>
            </a:extLst>
          </p:cNvPr>
          <p:cNvSpPr/>
          <p:nvPr/>
        </p:nvSpPr>
        <p:spPr>
          <a:xfrm>
            <a:off x="312696" y="1076977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t-BR" sz="1200">
                <a:solidFill>
                  <a:schemeClr val="tx1"/>
                </a:solidFill>
              </a:rPr>
              <a:t>v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A3094207-4D4A-47E7-B0D1-41F594FAD7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6401808"/>
              </p:ext>
            </p:extLst>
          </p:nvPr>
        </p:nvGraphicFramePr>
        <p:xfrm>
          <a:off x="5508634" y="268946"/>
          <a:ext cx="3378201" cy="74168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57483">
                  <a:extLst>
                    <a:ext uri="{9D8B030D-6E8A-4147-A177-3AD203B41FA5}">
                      <a16:colId xmlns:a16="http://schemas.microsoft.com/office/drawing/2014/main" val="3992231431"/>
                    </a:ext>
                  </a:extLst>
                </a:gridCol>
                <a:gridCol w="3020718">
                  <a:extLst>
                    <a:ext uri="{9D8B030D-6E8A-4147-A177-3AD203B41FA5}">
                      <a16:colId xmlns:a16="http://schemas.microsoft.com/office/drawing/2014/main" val="17431687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CO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mento de cliente </a:t>
                      </a:r>
                      <a:r>
                        <a:rPr lang="es-CO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ual</a:t>
                      </a:r>
                      <a:endParaRPr lang="es-CO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31393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CO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mento de cliente potenci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939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4299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D3B507D-B343-498F-97D5-78CBF4589AAB}"/>
              </a:ext>
            </a:extLst>
          </p:cNvPr>
          <p:cNvSpPr txBox="1"/>
          <p:nvPr/>
        </p:nvSpPr>
        <p:spPr>
          <a:xfrm>
            <a:off x="634999" y="182067"/>
            <a:ext cx="9956621" cy="4707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 - CUSTOMER JOURNE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61DB4A7-4C07-46D7-916D-B61EDC194383}"/>
              </a:ext>
            </a:extLst>
          </p:cNvPr>
          <p:cNvGrpSpPr/>
          <p:nvPr/>
        </p:nvGrpSpPr>
        <p:grpSpPr>
          <a:xfrm>
            <a:off x="1950587" y="827416"/>
            <a:ext cx="8657967" cy="5679773"/>
            <a:chOff x="3366122" y="869749"/>
            <a:chExt cx="8657967" cy="567977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D32C72C-1F96-4DFD-ADD8-EB98012F7829}"/>
                </a:ext>
              </a:extLst>
            </p:cNvPr>
            <p:cNvSpPr/>
            <p:nvPr/>
          </p:nvSpPr>
          <p:spPr>
            <a:xfrm>
              <a:off x="3366122" y="869749"/>
              <a:ext cx="1620744" cy="33688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s-CO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SES</a:t>
              </a:r>
            </a:p>
            <a:p>
              <a:pPr algn="ctr"/>
              <a:r>
                <a:rPr lang="es-CO" sz="1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critas pelo cliente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A6EFE21-4F3A-45B5-ABF0-093745D6274C}"/>
                </a:ext>
              </a:extLst>
            </p:cNvPr>
            <p:cNvSpPr/>
            <p:nvPr/>
          </p:nvSpPr>
          <p:spPr>
            <a:xfrm>
              <a:off x="3366122" y="1322067"/>
              <a:ext cx="1620744" cy="551183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s-CO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CESSIDADES</a:t>
              </a:r>
            </a:p>
            <a:p>
              <a:pPr algn="ctr"/>
              <a:r>
                <a:rPr lang="es-CO" sz="1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 cliente em cada momento das fases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03B8265-C3FC-49AD-B22E-50F543F8AA49}"/>
                </a:ext>
              </a:extLst>
            </p:cNvPr>
            <p:cNvSpPr/>
            <p:nvPr/>
          </p:nvSpPr>
          <p:spPr>
            <a:xfrm>
              <a:off x="3366122" y="1969633"/>
              <a:ext cx="1620744" cy="55118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pt-BR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IVIDADES</a:t>
              </a:r>
            </a:p>
            <a:p>
              <a:pPr algn="ctr"/>
              <a:r>
                <a:rPr lang="pt-BR" sz="9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 cliente para satisfazer necesidadad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A1983EF-D4FF-46B1-8440-DF33A25B17E4}"/>
                </a:ext>
              </a:extLst>
            </p:cNvPr>
            <p:cNvSpPr/>
            <p:nvPr/>
          </p:nvSpPr>
          <p:spPr>
            <a:xfrm>
              <a:off x="3366122" y="2617199"/>
              <a:ext cx="1620744" cy="551183"/>
            </a:xfrm>
            <a:prstGeom prst="rect">
              <a:avLst/>
            </a:prstGeom>
            <a:solidFill>
              <a:srgbClr val="EA3A5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s-CO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NAIS, PONTOS DE CONTATO</a:t>
              </a:r>
              <a:endParaRPr lang="es-CO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7810E87-F3A4-403D-9665-3B3290A9623E}"/>
                </a:ext>
              </a:extLst>
            </p:cNvPr>
            <p:cNvSpPr/>
            <p:nvPr/>
          </p:nvSpPr>
          <p:spPr>
            <a:xfrm>
              <a:off x="3366122" y="3264765"/>
              <a:ext cx="1620744" cy="551183"/>
            </a:xfrm>
            <a:prstGeom prst="rect">
              <a:avLst/>
            </a:prstGeom>
            <a:solidFill>
              <a:srgbClr val="5D18C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pt-BR" sz="12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CTATIVA</a:t>
              </a:r>
            </a:p>
            <a:p>
              <a:pPr algn="ctr"/>
              <a:r>
                <a:rPr lang="pt-BR" sz="10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 cliente em cada uma das fases</a:t>
              </a:r>
              <a:endParaRPr lang="pt-BR" sz="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D70ED3A-26F9-4DA8-83EB-F7904304F66B}"/>
                </a:ext>
              </a:extLst>
            </p:cNvPr>
            <p:cNvSpPr/>
            <p:nvPr/>
          </p:nvSpPr>
          <p:spPr>
            <a:xfrm>
              <a:off x="3366122" y="3912331"/>
              <a:ext cx="1620744" cy="79936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pt-BR" sz="12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ÊNCIA</a:t>
              </a:r>
            </a:p>
            <a:p>
              <a:pPr algn="ctr"/>
              <a:r>
                <a:rPr lang="pt-BR" sz="1000" b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cepção do cliente positiva, negativa ou neutra
</a:t>
              </a:r>
              <a:endParaRPr lang="pt-BR" sz="7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F9F3F36-EB7E-435E-8B73-D6819A0E0E16}"/>
                </a:ext>
              </a:extLst>
            </p:cNvPr>
            <p:cNvSpPr/>
            <p:nvPr/>
          </p:nvSpPr>
          <p:spPr>
            <a:xfrm>
              <a:off x="3366122" y="4831242"/>
              <a:ext cx="1620744" cy="799369"/>
            </a:xfrm>
            <a:prstGeom prst="rect">
              <a:avLst/>
            </a:prstGeom>
            <a:solidFill>
              <a:srgbClr val="EF5FA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pt-BR" sz="12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ÊNCIA MEMORÁVEL
</a:t>
              </a:r>
              <a:r>
                <a:rPr lang="pt-BR" sz="1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ência perfeita</a:t>
              </a:r>
              <a:endParaRPr lang="pt-BR" sz="7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6396A78-CA3F-4CB5-B0C1-0088D495A014}"/>
                </a:ext>
              </a:extLst>
            </p:cNvPr>
            <p:cNvSpPr/>
            <p:nvPr/>
          </p:nvSpPr>
          <p:spPr>
            <a:xfrm>
              <a:off x="3366122" y="5750153"/>
              <a:ext cx="1620744" cy="799369"/>
            </a:xfrm>
            <a:prstGeom prst="rect">
              <a:avLst/>
            </a:prstGeom>
            <a:solidFill>
              <a:srgbClr val="F2C5C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s-CO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ORTUNIDADES DE MELHORIA
</a:t>
              </a:r>
              <a:r>
                <a:rPr lang="es-CO" sz="1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rivadas del análisis </a:t>
              </a:r>
              <a:endParaRPr lang="es-CO" sz="7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CEDF268-4996-47AC-95A1-EA61D6813161}"/>
                </a:ext>
              </a:extLst>
            </p:cNvPr>
            <p:cNvCxnSpPr/>
            <p:nvPr/>
          </p:nvCxnSpPr>
          <p:spPr>
            <a:xfrm>
              <a:off x="5184089" y="4025153"/>
              <a:ext cx="6840000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B59B27D-9096-42AE-B478-2CFA7B8AD322}"/>
                </a:ext>
              </a:extLst>
            </p:cNvPr>
            <p:cNvCxnSpPr/>
            <p:nvPr/>
          </p:nvCxnSpPr>
          <p:spPr>
            <a:xfrm>
              <a:off x="5184087" y="4329952"/>
              <a:ext cx="6840000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53FC988-99A2-4060-9A3F-ABDDCB249FC2}"/>
                </a:ext>
              </a:extLst>
            </p:cNvPr>
            <p:cNvCxnSpPr/>
            <p:nvPr/>
          </p:nvCxnSpPr>
          <p:spPr>
            <a:xfrm>
              <a:off x="5184088" y="4639982"/>
              <a:ext cx="6840000" cy="0"/>
            </a:xfrm>
            <a:prstGeom prst="line">
              <a:avLst/>
            </a:prstGeom>
            <a:ln w="9525"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C52C0E2-7615-47CE-9329-55869F51964D}"/>
                </a:ext>
              </a:extLst>
            </p:cNvPr>
            <p:cNvSpPr/>
            <p:nvPr/>
          </p:nvSpPr>
          <p:spPr>
            <a:xfrm>
              <a:off x="5184087" y="869749"/>
              <a:ext cx="1620744" cy="336885"/>
            </a:xfrm>
            <a:prstGeom prst="rect">
              <a:avLst/>
            </a:prstGeom>
            <a:solidFill>
              <a:srgbClr val="D4BFF8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688AE72-9DCC-4D78-AD8E-FC32C6BE67FF}"/>
                </a:ext>
              </a:extLst>
            </p:cNvPr>
            <p:cNvSpPr/>
            <p:nvPr/>
          </p:nvSpPr>
          <p:spPr>
            <a:xfrm>
              <a:off x="5184087" y="1322067"/>
              <a:ext cx="1620744" cy="551183"/>
            </a:xfrm>
            <a:prstGeom prst="rect">
              <a:avLst/>
            </a:prstGeom>
            <a:solidFill>
              <a:srgbClr val="A97FF0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3082CB-7F63-49CF-9FB3-111A055648DD}"/>
                </a:ext>
              </a:extLst>
            </p:cNvPr>
            <p:cNvSpPr/>
            <p:nvPr/>
          </p:nvSpPr>
          <p:spPr>
            <a:xfrm>
              <a:off x="5184087" y="1969633"/>
              <a:ext cx="1620744" cy="551183"/>
            </a:xfrm>
            <a:prstGeom prst="rect">
              <a:avLst/>
            </a:prstGeom>
            <a:solidFill>
              <a:srgbClr val="7E40E9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160494A-B5A6-4F23-827C-054E6D44097C}"/>
                </a:ext>
              </a:extLst>
            </p:cNvPr>
            <p:cNvSpPr/>
            <p:nvPr/>
          </p:nvSpPr>
          <p:spPr>
            <a:xfrm>
              <a:off x="5184087" y="2617199"/>
              <a:ext cx="1620744" cy="551183"/>
            </a:xfrm>
            <a:prstGeom prst="rect">
              <a:avLst/>
            </a:prstGeom>
            <a:solidFill>
              <a:srgbClr val="EA3A55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091546B-A0F7-4E1D-B868-656797AE017A}"/>
                </a:ext>
              </a:extLst>
            </p:cNvPr>
            <p:cNvSpPr/>
            <p:nvPr/>
          </p:nvSpPr>
          <p:spPr>
            <a:xfrm>
              <a:off x="5184087" y="3264765"/>
              <a:ext cx="1620744" cy="551183"/>
            </a:xfrm>
            <a:prstGeom prst="rect">
              <a:avLst/>
            </a:prstGeom>
            <a:solidFill>
              <a:srgbClr val="5D18CE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8F8F633-3053-46E3-A104-33F46481EC99}"/>
                </a:ext>
              </a:extLst>
            </p:cNvPr>
            <p:cNvSpPr/>
            <p:nvPr/>
          </p:nvSpPr>
          <p:spPr>
            <a:xfrm>
              <a:off x="5184087" y="4831242"/>
              <a:ext cx="1620744" cy="799369"/>
            </a:xfrm>
            <a:prstGeom prst="rect">
              <a:avLst/>
            </a:prstGeom>
            <a:solidFill>
              <a:srgbClr val="EF5FA7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54CC053-6EF7-4F0A-AD79-3D85E55AFAD9}"/>
                </a:ext>
              </a:extLst>
            </p:cNvPr>
            <p:cNvSpPr/>
            <p:nvPr/>
          </p:nvSpPr>
          <p:spPr>
            <a:xfrm>
              <a:off x="5184087" y="5750153"/>
              <a:ext cx="1620744" cy="799369"/>
            </a:xfrm>
            <a:prstGeom prst="rect">
              <a:avLst/>
            </a:prstGeom>
            <a:solidFill>
              <a:srgbClr val="F2C5C3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E939950-55B8-442A-9079-1DDA326A7D4B}"/>
                </a:ext>
              </a:extLst>
            </p:cNvPr>
            <p:cNvSpPr/>
            <p:nvPr/>
          </p:nvSpPr>
          <p:spPr>
            <a:xfrm>
              <a:off x="6925851" y="869749"/>
              <a:ext cx="1620744" cy="336885"/>
            </a:xfrm>
            <a:prstGeom prst="rect">
              <a:avLst/>
            </a:prstGeom>
            <a:solidFill>
              <a:srgbClr val="D4BFF8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BB8749C-1D72-409B-B6AF-931B6A0B45ED}"/>
                </a:ext>
              </a:extLst>
            </p:cNvPr>
            <p:cNvSpPr/>
            <p:nvPr/>
          </p:nvSpPr>
          <p:spPr>
            <a:xfrm>
              <a:off x="6925851" y="1322067"/>
              <a:ext cx="1620744" cy="551183"/>
            </a:xfrm>
            <a:prstGeom prst="rect">
              <a:avLst/>
            </a:prstGeom>
            <a:solidFill>
              <a:srgbClr val="A97FF0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23DAAC81-4A3D-44E0-B37F-80D55820568E}"/>
                </a:ext>
              </a:extLst>
            </p:cNvPr>
            <p:cNvSpPr/>
            <p:nvPr/>
          </p:nvSpPr>
          <p:spPr>
            <a:xfrm>
              <a:off x="6925851" y="1969633"/>
              <a:ext cx="1620744" cy="551183"/>
            </a:xfrm>
            <a:prstGeom prst="rect">
              <a:avLst/>
            </a:prstGeom>
            <a:solidFill>
              <a:srgbClr val="7E40E9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5659BD7-1C2C-447C-AC45-8AC1F3767E48}"/>
                </a:ext>
              </a:extLst>
            </p:cNvPr>
            <p:cNvSpPr/>
            <p:nvPr/>
          </p:nvSpPr>
          <p:spPr>
            <a:xfrm>
              <a:off x="6925851" y="2617199"/>
              <a:ext cx="1620744" cy="551183"/>
            </a:xfrm>
            <a:prstGeom prst="rect">
              <a:avLst/>
            </a:prstGeom>
            <a:solidFill>
              <a:srgbClr val="EA3A55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2F9652C3-5AB4-4579-81DB-F9040EEE4957}"/>
                </a:ext>
              </a:extLst>
            </p:cNvPr>
            <p:cNvSpPr/>
            <p:nvPr/>
          </p:nvSpPr>
          <p:spPr>
            <a:xfrm>
              <a:off x="6925851" y="3264765"/>
              <a:ext cx="1620744" cy="551183"/>
            </a:xfrm>
            <a:prstGeom prst="rect">
              <a:avLst/>
            </a:prstGeom>
            <a:solidFill>
              <a:srgbClr val="5D18CE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216E04F-408F-4C70-BDDE-E32240252A8D}"/>
                </a:ext>
              </a:extLst>
            </p:cNvPr>
            <p:cNvSpPr/>
            <p:nvPr/>
          </p:nvSpPr>
          <p:spPr>
            <a:xfrm>
              <a:off x="6925851" y="4831242"/>
              <a:ext cx="1620744" cy="799369"/>
            </a:xfrm>
            <a:prstGeom prst="rect">
              <a:avLst/>
            </a:prstGeom>
            <a:solidFill>
              <a:srgbClr val="EF5FA7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B993871-DC36-45AD-AD77-916488C213CD}"/>
                </a:ext>
              </a:extLst>
            </p:cNvPr>
            <p:cNvSpPr/>
            <p:nvPr/>
          </p:nvSpPr>
          <p:spPr>
            <a:xfrm>
              <a:off x="6925851" y="5750153"/>
              <a:ext cx="1620744" cy="799369"/>
            </a:xfrm>
            <a:prstGeom prst="rect">
              <a:avLst/>
            </a:prstGeom>
            <a:solidFill>
              <a:srgbClr val="F2C5C3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6412CEB-8FA2-46AD-90B7-5E5F63F9468C}"/>
                </a:ext>
              </a:extLst>
            </p:cNvPr>
            <p:cNvSpPr/>
            <p:nvPr/>
          </p:nvSpPr>
          <p:spPr>
            <a:xfrm>
              <a:off x="8659146" y="869749"/>
              <a:ext cx="1620744" cy="336885"/>
            </a:xfrm>
            <a:prstGeom prst="rect">
              <a:avLst/>
            </a:prstGeom>
            <a:solidFill>
              <a:srgbClr val="D4BFF8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5030D191-BACA-494F-8B6E-8AFD48AB9AE9}"/>
                </a:ext>
              </a:extLst>
            </p:cNvPr>
            <p:cNvSpPr/>
            <p:nvPr/>
          </p:nvSpPr>
          <p:spPr>
            <a:xfrm>
              <a:off x="8659146" y="1322067"/>
              <a:ext cx="1620744" cy="551183"/>
            </a:xfrm>
            <a:prstGeom prst="rect">
              <a:avLst/>
            </a:prstGeom>
            <a:solidFill>
              <a:srgbClr val="A97FF0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4179A8D-F4B6-445E-9808-C7E1ED35EAB3}"/>
                </a:ext>
              </a:extLst>
            </p:cNvPr>
            <p:cNvSpPr/>
            <p:nvPr/>
          </p:nvSpPr>
          <p:spPr>
            <a:xfrm>
              <a:off x="8659146" y="1969633"/>
              <a:ext cx="1620744" cy="551183"/>
            </a:xfrm>
            <a:prstGeom prst="rect">
              <a:avLst/>
            </a:prstGeom>
            <a:solidFill>
              <a:srgbClr val="7E40E9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7B02A96-9255-45C9-91C9-E1979E87741B}"/>
                </a:ext>
              </a:extLst>
            </p:cNvPr>
            <p:cNvSpPr/>
            <p:nvPr/>
          </p:nvSpPr>
          <p:spPr>
            <a:xfrm>
              <a:off x="8659146" y="2617199"/>
              <a:ext cx="1620744" cy="551183"/>
            </a:xfrm>
            <a:prstGeom prst="rect">
              <a:avLst/>
            </a:prstGeom>
            <a:solidFill>
              <a:srgbClr val="EA3A55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B00FE5E-1D9D-4161-9518-B5CEF7942421}"/>
                </a:ext>
              </a:extLst>
            </p:cNvPr>
            <p:cNvSpPr/>
            <p:nvPr/>
          </p:nvSpPr>
          <p:spPr>
            <a:xfrm>
              <a:off x="8659146" y="3264765"/>
              <a:ext cx="1620744" cy="551183"/>
            </a:xfrm>
            <a:prstGeom prst="rect">
              <a:avLst/>
            </a:prstGeom>
            <a:solidFill>
              <a:srgbClr val="5D18CE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EE506AC-6F01-46A4-86EF-2CA8B79507E5}"/>
                </a:ext>
              </a:extLst>
            </p:cNvPr>
            <p:cNvSpPr/>
            <p:nvPr/>
          </p:nvSpPr>
          <p:spPr>
            <a:xfrm>
              <a:off x="8659146" y="4831242"/>
              <a:ext cx="1620744" cy="799369"/>
            </a:xfrm>
            <a:prstGeom prst="rect">
              <a:avLst/>
            </a:prstGeom>
            <a:solidFill>
              <a:srgbClr val="EF5FA7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1D9BBDEB-221C-4741-9979-C335EE48F38E}"/>
                </a:ext>
              </a:extLst>
            </p:cNvPr>
            <p:cNvSpPr/>
            <p:nvPr/>
          </p:nvSpPr>
          <p:spPr>
            <a:xfrm>
              <a:off x="8659146" y="5750153"/>
              <a:ext cx="1620744" cy="799369"/>
            </a:xfrm>
            <a:prstGeom prst="rect">
              <a:avLst/>
            </a:prstGeom>
            <a:solidFill>
              <a:srgbClr val="F2C5C3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94B82F5-6724-4183-9488-81BFE10400DC}"/>
                </a:ext>
              </a:extLst>
            </p:cNvPr>
            <p:cNvSpPr/>
            <p:nvPr/>
          </p:nvSpPr>
          <p:spPr>
            <a:xfrm>
              <a:off x="10402098" y="869749"/>
              <a:ext cx="1620744" cy="336885"/>
            </a:xfrm>
            <a:prstGeom prst="rect">
              <a:avLst/>
            </a:prstGeom>
            <a:solidFill>
              <a:srgbClr val="D4BFF8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091F8FD-E5CD-4924-8378-3090192AC734}"/>
                </a:ext>
              </a:extLst>
            </p:cNvPr>
            <p:cNvSpPr/>
            <p:nvPr/>
          </p:nvSpPr>
          <p:spPr>
            <a:xfrm>
              <a:off x="10402098" y="1322067"/>
              <a:ext cx="1620744" cy="551183"/>
            </a:xfrm>
            <a:prstGeom prst="rect">
              <a:avLst/>
            </a:prstGeom>
            <a:solidFill>
              <a:srgbClr val="A97FF0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DB6A865-BE08-424A-8AF5-34133796AE9C}"/>
                </a:ext>
              </a:extLst>
            </p:cNvPr>
            <p:cNvSpPr/>
            <p:nvPr/>
          </p:nvSpPr>
          <p:spPr>
            <a:xfrm>
              <a:off x="10402098" y="1969633"/>
              <a:ext cx="1620744" cy="551183"/>
            </a:xfrm>
            <a:prstGeom prst="rect">
              <a:avLst/>
            </a:prstGeom>
            <a:solidFill>
              <a:srgbClr val="7E40E9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C5A07DF-6C84-4BEF-99DD-7DA3EA2EF92E}"/>
                </a:ext>
              </a:extLst>
            </p:cNvPr>
            <p:cNvSpPr/>
            <p:nvPr/>
          </p:nvSpPr>
          <p:spPr>
            <a:xfrm>
              <a:off x="10402098" y="2617199"/>
              <a:ext cx="1620744" cy="551183"/>
            </a:xfrm>
            <a:prstGeom prst="rect">
              <a:avLst/>
            </a:prstGeom>
            <a:solidFill>
              <a:srgbClr val="EA3A55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E77B2A4-B4C4-4390-B8A5-64BC26B59ED0}"/>
                </a:ext>
              </a:extLst>
            </p:cNvPr>
            <p:cNvSpPr/>
            <p:nvPr/>
          </p:nvSpPr>
          <p:spPr>
            <a:xfrm>
              <a:off x="10402098" y="3264765"/>
              <a:ext cx="1620744" cy="551183"/>
            </a:xfrm>
            <a:prstGeom prst="rect">
              <a:avLst/>
            </a:prstGeom>
            <a:solidFill>
              <a:srgbClr val="5D18CE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97EDDF8-FA18-450F-865A-640AB7C32852}"/>
                </a:ext>
              </a:extLst>
            </p:cNvPr>
            <p:cNvSpPr/>
            <p:nvPr/>
          </p:nvSpPr>
          <p:spPr>
            <a:xfrm>
              <a:off x="10402098" y="4831242"/>
              <a:ext cx="1620744" cy="799369"/>
            </a:xfrm>
            <a:prstGeom prst="rect">
              <a:avLst/>
            </a:prstGeom>
            <a:solidFill>
              <a:srgbClr val="EF5FA7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9179F78-4E61-42BC-9B92-CDB193E490A5}"/>
                </a:ext>
              </a:extLst>
            </p:cNvPr>
            <p:cNvSpPr/>
            <p:nvPr/>
          </p:nvSpPr>
          <p:spPr>
            <a:xfrm>
              <a:off x="10402098" y="5750153"/>
              <a:ext cx="1620744" cy="799369"/>
            </a:xfrm>
            <a:prstGeom prst="rect">
              <a:avLst/>
            </a:prstGeom>
            <a:solidFill>
              <a:srgbClr val="F2C5C3">
                <a:alpha val="6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s-CO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9187CEAE-8ECA-42DC-B83E-D7E14A7FE3F0}"/>
              </a:ext>
            </a:extLst>
          </p:cNvPr>
          <p:cNvSpPr/>
          <p:nvPr/>
        </p:nvSpPr>
        <p:spPr>
          <a:xfrm>
            <a:off x="1485543" y="884632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 dirty="0">
              <a:solidFill>
                <a:schemeClr val="tx1"/>
              </a:solidFill>
            </a:endParaRPr>
          </a:p>
        </p:txBody>
      </p: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8214B662-1AF3-4CC0-A536-D6A8FC01B193}"/>
              </a:ext>
            </a:extLst>
          </p:cNvPr>
          <p:cNvSpPr/>
          <p:nvPr/>
        </p:nvSpPr>
        <p:spPr>
          <a:xfrm>
            <a:off x="1485543" y="2038309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 dirty="0">
              <a:solidFill>
                <a:schemeClr val="tx1"/>
              </a:solidFill>
            </a:endParaRPr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CC23A16D-77B6-4FA0-9EC3-2F02B8E9720E}"/>
              </a:ext>
            </a:extLst>
          </p:cNvPr>
          <p:cNvSpPr/>
          <p:nvPr/>
        </p:nvSpPr>
        <p:spPr>
          <a:xfrm>
            <a:off x="1480059" y="2719467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 dirty="0">
              <a:solidFill>
                <a:schemeClr val="tx1"/>
              </a:solidFill>
            </a:endParaRPr>
          </a:p>
        </p:txBody>
      </p:sp>
      <p:sp>
        <p:nvSpPr>
          <p:cNvPr id="65" name="Arrow: Right 64">
            <a:extLst>
              <a:ext uri="{FF2B5EF4-FFF2-40B4-BE49-F238E27FC236}">
                <a16:creationId xmlns:a16="http://schemas.microsoft.com/office/drawing/2014/main" id="{3D5F1061-E9CA-4D02-B600-56C772D9F61A}"/>
              </a:ext>
            </a:extLst>
          </p:cNvPr>
          <p:cNvSpPr/>
          <p:nvPr/>
        </p:nvSpPr>
        <p:spPr>
          <a:xfrm>
            <a:off x="1480059" y="4066794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 dirty="0">
              <a:solidFill>
                <a:schemeClr val="tx1"/>
              </a:solidFill>
            </a:endParaRP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FAE517C8-F6C0-486E-B028-3134D794D04A}"/>
              </a:ext>
            </a:extLst>
          </p:cNvPr>
          <p:cNvSpPr/>
          <p:nvPr/>
        </p:nvSpPr>
        <p:spPr>
          <a:xfrm>
            <a:off x="1480059" y="5996278"/>
            <a:ext cx="366434" cy="222451"/>
          </a:xfrm>
          <a:prstGeom prst="rightArrow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5299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3692B0D-82AC-41A6-A5BD-1A4B9AC9B985}"/>
              </a:ext>
            </a:extLst>
          </p:cNvPr>
          <p:cNvSpPr txBox="1"/>
          <p:nvPr/>
        </p:nvSpPr>
        <p:spPr>
          <a:xfrm>
            <a:off x="486611" y="1437319"/>
            <a:ext cx="11218778" cy="4744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de entrega: </a:t>
            </a:r>
            <a:r>
              <a:rPr lang="pt-BR" sz="2400" b="1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gunda-feira, 18 de Abril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 dos membros do grupo deve enviar o arquivo para a ConnectAmericas Academy através do caminho: </a:t>
            </a:r>
            <a:r>
              <a:rPr lang="pt-BR" sz="2000" b="1" u="sng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Americas Academy - Tópico 2 Experiência do Usuário - Transformação da Classe 3 - Desafio do Grupo</a:t>
            </a: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cês podem fazer upload de arquivos em </a:t>
            </a:r>
            <a:r>
              <a:rPr lang="pt-BR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F, Powerpoint, Word, Excel, Imagens (PNG, JPG)</a:t>
            </a: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tre outro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o vocês desenvolvam o exercício em uma </a:t>
            </a:r>
            <a:r>
              <a:rPr lang="pt-BR" sz="2000" b="1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erramenta on-line</a:t>
            </a: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odem fazer upload de  um documento com o link associado. Devem certificar que estes links sejam públicos, ou seja, que possam ser vistos por pessoas de fora de sua organização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quem que o arquivo seja legível pois, ele só pode ser carregado na Academia </a:t>
            </a:r>
            <a:r>
              <a:rPr lang="pt-BR" sz="2000" b="1" u="sng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 vez</a:t>
            </a:r>
            <a:r>
              <a:rPr lang="pt-BR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pt-BR" sz="2000" b="1" u="sng">
              <a:solidFill>
                <a:schemeClr val="accent4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A4E206-162D-4148-A220-C6C68B016389}"/>
              </a:ext>
            </a:extLst>
          </p:cNvPr>
          <p:cNvSpPr txBox="1"/>
          <p:nvPr/>
        </p:nvSpPr>
        <p:spPr>
          <a:xfrm>
            <a:off x="553451" y="362193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ÇÕES</a:t>
            </a:r>
          </a:p>
        </p:txBody>
      </p:sp>
    </p:spTree>
    <p:extLst>
      <p:ext uri="{BB962C8B-B14F-4D97-AF65-F5344CB8AC3E}">
        <p14:creationId xmlns:p14="http://schemas.microsoft.com/office/powerpoint/2010/main" val="2729674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53451" y="362193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ENDAÇÕES FINAIS</a:t>
            </a:r>
            <a:endParaRPr lang="en-GB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24824E-F86D-4BF1-A73F-457CD5F4A18D}"/>
              </a:ext>
            </a:extLst>
          </p:cNvPr>
          <p:cNvSpPr txBox="1"/>
          <p:nvPr/>
        </p:nvSpPr>
        <p:spPr>
          <a:xfrm>
            <a:off x="639233" y="1415484"/>
            <a:ext cx="10752264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mbrem-se que tanto a jornada do cliente quanto a persona deve ser baseada em </a:t>
            </a:r>
            <a:r>
              <a:rPr lang="pt-BR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DOS REAIS</a:t>
            </a: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ste é o valor do exercício.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em usar personas fictícias somente quando se trata de uma jornada do cliente para um </a:t>
            </a:r>
            <a:r>
              <a:rPr lang="pt-BR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vo produto ou serviço.</a:t>
            </a:r>
            <a:endParaRPr lang="en-GB" b="1" dirty="0">
              <a:solidFill>
                <a:schemeClr val="bg1"/>
              </a:solidFill>
              <a:highlight>
                <a:srgbClr val="EA3A55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F68A45-4F33-493E-930F-2B9C2E4FDB2F}"/>
              </a:ext>
            </a:extLst>
          </p:cNvPr>
          <p:cNvSpPr txBox="1"/>
          <p:nvPr/>
        </p:nvSpPr>
        <p:spPr>
          <a:xfrm>
            <a:off x="2353732" y="3270212"/>
            <a:ext cx="8771467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a claramente onde começa e onde termina a jornada de seu cliente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você já tem um problema identificado, realize o exercício com isto em mente e procure fazê-lo mais detalhado possível.</a:t>
            </a:r>
            <a:endParaRPr lang="es-CO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BA275C3-9BFC-4181-98E8-C896A8C8A69D}"/>
              </a:ext>
            </a:extLst>
          </p:cNvPr>
          <p:cNvGrpSpPr/>
          <p:nvPr/>
        </p:nvGrpSpPr>
        <p:grpSpPr>
          <a:xfrm>
            <a:off x="884766" y="3270212"/>
            <a:ext cx="1468966" cy="1583626"/>
            <a:chOff x="639233" y="3200732"/>
            <a:chExt cx="1468966" cy="1583626"/>
          </a:xfrm>
        </p:grpSpPr>
        <p:pic>
          <p:nvPicPr>
            <p:cNvPr id="5" name="Graphic 4" descr="Route (Two Pins With A Path) with solid fill">
              <a:extLst>
                <a:ext uri="{FF2B5EF4-FFF2-40B4-BE49-F238E27FC236}">
                  <a16:creationId xmlns:a16="http://schemas.microsoft.com/office/drawing/2014/main" id="{D8584571-045A-4EF6-912C-2F02A7C91F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9233" y="3272379"/>
              <a:ext cx="1223434" cy="1223434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4272CE6-B3F4-4F41-96D6-57086329087A}"/>
                </a:ext>
              </a:extLst>
            </p:cNvPr>
            <p:cNvSpPr txBox="1"/>
            <p:nvPr/>
          </p:nvSpPr>
          <p:spPr>
            <a:xfrm>
              <a:off x="736599" y="4327823"/>
              <a:ext cx="321735" cy="45653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CO" b="1" dirty="0">
                  <a:solidFill>
                    <a:srgbClr val="D4BFF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C0EACEB-9EF2-4666-A737-BC52BAD95CB1}"/>
                </a:ext>
              </a:extLst>
            </p:cNvPr>
            <p:cNvSpPr txBox="1"/>
            <p:nvPr/>
          </p:nvSpPr>
          <p:spPr>
            <a:xfrm>
              <a:off x="1786464" y="3200732"/>
              <a:ext cx="321735" cy="45653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s-CO" b="1" dirty="0">
                  <a:solidFill>
                    <a:srgbClr val="D4BFF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0363F5E5-3982-41A4-BC17-54B86909FA7E}"/>
              </a:ext>
            </a:extLst>
          </p:cNvPr>
          <p:cNvSpPr txBox="1"/>
          <p:nvPr/>
        </p:nvSpPr>
        <p:spPr>
          <a:xfrm>
            <a:off x="884765" y="5208275"/>
            <a:ext cx="11307235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oveitem ao máximo a interação em suas equipes! Ter diferentes perspectivas de modelo de negócios, tipo de clientes, setor, etc., pode ser muito benéfico para enriquecer a jornada do cliente, encontrando dores que não tinham sido visualizadas antes e até mesmo soluções possíveis.</a:t>
            </a:r>
            <a:endParaRPr lang="es-CO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0449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D8E720F-6750-4EC4-A661-2F27B7876B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7586817"/>
              </p:ext>
            </p:extLst>
          </p:nvPr>
        </p:nvGraphicFramePr>
        <p:xfrm>
          <a:off x="856291" y="949181"/>
          <a:ext cx="10710335" cy="5603455"/>
        </p:xfrm>
        <a:graphic>
          <a:graphicData uri="http://schemas.openxmlformats.org/drawingml/2006/table">
            <a:tbl>
              <a:tblPr firstRow="1" firstCol="1" bandRow="1">
                <a:tableStyleId>{1E171933-4619-4E11-9A3F-F7608DF75F80}</a:tableStyleId>
              </a:tblPr>
              <a:tblGrid>
                <a:gridCol w="9648338">
                  <a:extLst>
                    <a:ext uri="{9D8B030D-6E8A-4147-A177-3AD203B41FA5}">
                      <a16:colId xmlns:a16="http://schemas.microsoft.com/office/drawing/2014/main" val="3782948219"/>
                    </a:ext>
                  </a:extLst>
                </a:gridCol>
                <a:gridCol w="1061997">
                  <a:extLst>
                    <a:ext uri="{9D8B030D-6E8A-4147-A177-3AD203B41FA5}">
                      <a16:colId xmlns:a16="http://schemas.microsoft.com/office/drawing/2014/main" val="874268961"/>
                    </a:ext>
                  </a:extLst>
                </a:gridCol>
              </a:tblGrid>
              <a:tr h="331429">
                <a:tc>
                  <a:txBody>
                    <a:bodyPr/>
                    <a:lstStyle/>
                    <a:p>
                      <a:pPr marL="1080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BR" sz="1200" b="1" noProof="0" dirty="0">
                          <a:solidFill>
                            <a:schemeClr val="bg1"/>
                          </a:solidFill>
                          <a:effectLst/>
                        </a:rPr>
                        <a:t>CRITÉRIOS DE AVALIAÇÃO</a:t>
                      </a:r>
                      <a:endParaRPr lang="pt-BR" sz="1200" b="1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1080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BR" sz="1200" b="1" noProof="0">
                          <a:solidFill>
                            <a:schemeClr val="bg1"/>
                          </a:solidFill>
                          <a:effectLst/>
                        </a:rPr>
                        <a:t>PESO</a:t>
                      </a:r>
                      <a:endParaRPr lang="pt-BR" sz="1200" b="1" noProof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51494158"/>
                  </a:ext>
                </a:extLst>
              </a:tr>
              <a:tr h="894397">
                <a:tc>
                  <a:txBody>
                    <a:bodyPr/>
                    <a:lstStyle/>
                    <a:p>
                      <a:pPr marL="1080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BR" sz="1200" b="1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Claridade de Conceitos </a:t>
                      </a:r>
                    </a:p>
                    <a:p>
                      <a:pPr marL="540000" lvl="0" indent="-180000" algn="just">
                        <a:lnSpc>
                          <a:spcPct val="100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Incluir todas as informações mínimas necessárias</a:t>
                      </a:r>
                    </a:p>
                    <a:p>
                      <a:pPr marL="540000" lvl="0" indent="-180000" algn="just">
                        <a:lnSpc>
                          <a:spcPct val="100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Ter conceitos claros e diretos através do uso de imagens, palavras, formatos adequados e criativos. </a:t>
                      </a:r>
                    </a:p>
                    <a:p>
                      <a:pPr marL="540000" lvl="0" indent="-180000" algn="just">
                        <a:lnSpc>
                          <a:spcPct val="100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Demonstrar coerência entre a caracterização da persona e a jornada do cliente, ou seja, é evidente que a jornada foi projetada especificamente para essa persona e não é apenas uma jornada geral que poderia ser adaptada a qualquer tipo de cliente.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pt-BR" sz="1400" b="0" noProof="0">
                          <a:solidFill>
                            <a:sysClr val="windowText" lastClr="000000"/>
                          </a:solidFill>
                          <a:effectLst/>
                        </a:rPr>
                        <a:t>20%</a:t>
                      </a:r>
                      <a:endParaRPr lang="pt-BR" sz="1400" b="0" noProof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7772462"/>
                  </a:ext>
                </a:extLst>
              </a:tr>
              <a:tr h="730871">
                <a:tc>
                  <a:txBody>
                    <a:bodyPr/>
                    <a:lstStyle/>
                    <a:p>
                      <a:pPr marL="1080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BR" sz="1200" b="1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Usos de palavras-chave
</a:t>
                      </a: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Usar palavras-chave que resumam de clara e diretamente as informações.</a:t>
                      </a:r>
                    </a:p>
                    <a:p>
                      <a:pPr marL="540000" lvl="0" indent="-180000" algn="just" defTabSz="914400" rtl="0" eaLnBrk="1" latinLnBrk="0" hangingPunct="1">
                        <a:lnSpc>
                          <a:spcPct val="107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As palavras-chave permitem que associações objetivas sejam feitas.</a:t>
                      </a:r>
                      <a:endParaRPr lang="pt-BR" sz="1200" b="0" kern="1200" noProof="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pt-BR" sz="1400" b="0" noProof="0">
                          <a:solidFill>
                            <a:sysClr val="windowText" lastClr="000000"/>
                          </a:solidFill>
                          <a:effectLst/>
                        </a:rPr>
                        <a:t>10%</a:t>
                      </a:r>
                      <a:endParaRPr lang="pt-BR" sz="1400" b="0" noProof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619450753"/>
                  </a:ext>
                </a:extLst>
              </a:tr>
              <a:tr h="730871">
                <a:tc>
                  <a:txBody>
                    <a:bodyPr/>
                    <a:lstStyle/>
                    <a:p>
                      <a:pPr marL="1080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BR" sz="1200" b="1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Profundidade de conteúdos</a:t>
                      </a:r>
                    </a:p>
                    <a:p>
                      <a:pPr marL="540000" marR="0" lvl="0" indent="-18000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C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monstrar o uso da ferramenta apresentada na classe “</a:t>
                      </a:r>
                      <a:r>
                        <a:rPr lang="pt-BR" sz="1200" b="0" kern="1200" noProof="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umer</a:t>
                      </a: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200" b="0" kern="1200" noProof="0" dirty="0" err="1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rney</a:t>
                      </a: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 e "persona".</a:t>
                      </a:r>
                    </a:p>
                    <a:p>
                      <a:pPr marL="540000" marR="0" lvl="0" indent="-18000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C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pecificar se se trata de uma persona orientada por dados (uma descrição de onde os dados vieram pode ser incluída) ou se é fictícia.</a:t>
                      </a:r>
                    </a:p>
                    <a:p>
                      <a:pPr marL="540000" marR="0" lvl="0" indent="-18000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C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ências a conceitos ensinados em outros ciclos de treinamento (se aplicável).</a:t>
                      </a:r>
                    </a:p>
                    <a:p>
                      <a:pPr marL="540000" marR="0" lvl="0" indent="-18000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C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iliza conteúdo adicional ao apresentado na aula para enriquecer o exercício. (se aplicável)</a:t>
                      </a:r>
                      <a:endParaRPr lang="pt-BR" sz="1200" b="0" kern="1200" noProof="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pt-BR" sz="1400" b="0" noProof="0">
                          <a:solidFill>
                            <a:sysClr val="windowText" lastClr="000000"/>
                          </a:solidFill>
                          <a:effectLst/>
                        </a:rPr>
                        <a:t>15%</a:t>
                      </a:r>
                      <a:endParaRPr lang="pt-BR" sz="1400" b="0" noProof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513827160"/>
                  </a:ext>
                </a:extLst>
              </a:tr>
              <a:tr h="730871">
                <a:tc>
                  <a:txBody>
                    <a:bodyPr/>
                    <a:lstStyle/>
                    <a:p>
                      <a:pPr marL="1080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BR" sz="1200" b="1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Ortografia, pontuação, escrita e gramática</a:t>
                      </a:r>
                      <a:endParaRPr lang="pt-BR" sz="1200" b="0" noProof="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540000" lvl="0" indent="-180000" algn="just" defTabSz="914400" rtl="0" eaLnBrk="1" latinLnBrk="0" hangingPunct="1">
                        <a:lnSpc>
                          <a:spcPct val="107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Não conter erros ortográficos.</a:t>
                      </a:r>
                    </a:p>
                    <a:p>
                      <a:pPr marL="540000" lvl="0" indent="-180000" algn="just" defTabSz="914400" rtl="0" eaLnBrk="1" latinLnBrk="0" hangingPunct="1">
                        <a:lnSpc>
                          <a:spcPct val="107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A escrita, a síntese, o vocabulário são adequados.</a:t>
                      </a:r>
                      <a:endParaRPr lang="pt-BR" sz="1200" b="0" kern="1200" noProof="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pt-BR" sz="1400" b="0" noProof="0">
                          <a:solidFill>
                            <a:sysClr val="windowText" lastClr="000000"/>
                          </a:solidFill>
                          <a:effectLst/>
                        </a:rPr>
                        <a:t>5%</a:t>
                      </a:r>
                      <a:endParaRPr lang="pt-BR" sz="1400" b="0" noProof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607715351"/>
                  </a:ext>
                </a:extLst>
              </a:tr>
              <a:tr h="917603">
                <a:tc>
                  <a:txBody>
                    <a:bodyPr/>
                    <a:lstStyle/>
                    <a:p>
                      <a:pPr marL="10800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BR" sz="1200" b="1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Aderindo o perfil de </a:t>
                      </a:r>
                      <a:r>
                        <a:rPr lang="pt-BR" sz="1200" b="1" i="1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Champion</a:t>
                      </a:r>
                    </a:p>
                    <a:p>
                      <a:pPr marL="540000" lvl="0" indent="-180000" algn="just" defTabSz="914400" rtl="0" eaLnBrk="1" latinLnBrk="0" hangingPunct="1">
                        <a:lnSpc>
                          <a:spcPct val="107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Demonstrar o desenvolvimento/aplicação das características especificadas no perfil de </a:t>
                      </a:r>
                      <a:r>
                        <a:rPr lang="pt-BR" sz="1200" b="0" i="1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Champion</a:t>
                      </a: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.</a:t>
                      </a:r>
                    </a:p>
                    <a:p>
                      <a:pPr marL="540000" lvl="0" indent="-180000" algn="just" defTabSz="914400" rtl="0" eaLnBrk="1" latinLnBrk="0" hangingPunct="1">
                        <a:lnSpc>
                          <a:spcPct val="107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Incluir uma breve descrição da empresa e de seus clientes (100 palavras no máximo).</a:t>
                      </a:r>
                    </a:p>
                    <a:p>
                      <a:pPr marL="540000" lvl="0" indent="-180000" algn="just" defTabSz="914400" rtl="0" eaLnBrk="1" latinLnBrk="0" hangingPunct="1">
                        <a:lnSpc>
                          <a:spcPct val="107000"/>
                        </a:lnSpc>
                        <a:buClr>
                          <a:srgbClr val="FFC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pt-BR" sz="1200" b="0" kern="120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A jornada do cliente apresentada corresponde a um cliente no exterior. Isto deve ser evidenciado através da descrição da persona onde deve ser especificado se ela corresponde a um segmento de cliente atual ou potencial. </a:t>
                      </a:r>
                      <a:endParaRPr lang="pt-BR" sz="1200" b="0" kern="1200" noProof="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pt-BR" sz="1400" b="0" noProof="0" dirty="0">
                          <a:solidFill>
                            <a:sysClr val="windowText" lastClr="000000"/>
                          </a:solidFill>
                          <a:effectLst/>
                        </a:rPr>
                        <a:t>50%</a:t>
                      </a:r>
                      <a:endParaRPr lang="pt-BR" sz="1400" b="0" noProof="0" dirty="0"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148464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5550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4F6F202B989444B8E513D90358DBD5" ma:contentTypeVersion="13" ma:contentTypeDescription="Criar um novo documento." ma:contentTypeScope="" ma:versionID="da23106593f03fc86f8397fc04ecc1b5">
  <xsd:schema xmlns:xsd="http://www.w3.org/2001/XMLSchema" xmlns:xs="http://www.w3.org/2001/XMLSchema" xmlns:p="http://schemas.microsoft.com/office/2006/metadata/properties" xmlns:ns2="f7497011-41e9-4539-8eaa-a91e26322fc1" xmlns:ns3="36ab4214-ab26-4180-94f5-c882e3796056" targetNamespace="http://schemas.microsoft.com/office/2006/metadata/properties" ma:root="true" ma:fieldsID="31a3e49457fcb0f42aba02967bc5aaf2" ns2:_="" ns3:_="">
    <xsd:import namespace="f7497011-41e9-4539-8eaa-a91e26322fc1"/>
    <xsd:import namespace="36ab4214-ab26-4180-94f5-c882e37960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97011-41e9-4539-8eaa-a91e26322f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ab4214-ab26-4180-94f5-c882e379605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6ab4214-ab26-4180-94f5-c882e3796056">
      <UserInfo>
        <DisplayName>Monica Betancourt</DisplayName>
        <AccountId>14</AccountId>
        <AccountType/>
      </UserInfo>
      <UserInfo>
        <DisplayName>Santiago Peña Pacheco</DisplayName>
        <AccountId>63</AccountId>
        <AccountType/>
      </UserInfo>
      <UserInfo>
        <DisplayName>Katerine Schifino</DisplayName>
        <AccountId>16</AccountId>
        <AccountType/>
      </UserInfo>
      <UserInfo>
        <DisplayName>Stacy Unongo</DisplayName>
        <AccountId>2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1BC6F2-DCB6-4391-B233-991837F546BE}"/>
</file>

<file path=customXml/itemProps2.xml><?xml version="1.0" encoding="utf-8"?>
<ds:datastoreItem xmlns:ds="http://schemas.openxmlformats.org/officeDocument/2006/customXml" ds:itemID="{92397B2F-AA3E-4435-ABBB-477580938829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7497011-41e9-4539-8eaa-a91e26322fc1"/>
    <ds:schemaRef ds:uri="36ab4214-ab26-4180-94f5-c882e379605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FEBD0AE-4C18-4A23-B4DC-6E6B1C1ACE7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9</TotalTime>
  <Words>1001</Words>
  <Application>Microsoft Office PowerPoint</Application>
  <PresentationFormat>Widescreen</PresentationFormat>
  <Paragraphs>110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EYInterstate Light</vt:lpstr>
      <vt:lpstr>Georgia</vt:lpstr>
      <vt:lpstr>Symbol</vt:lpstr>
      <vt:lpstr>Wingdings</vt:lpstr>
      <vt:lpstr>EY dark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an Solana</dc:creator>
  <cp:lastModifiedBy>Stacy Unongo</cp:lastModifiedBy>
  <cp:revision>4</cp:revision>
  <cp:lastPrinted>2022-03-22T16:40:57Z</cp:lastPrinted>
  <dcterms:created xsi:type="dcterms:W3CDTF">2020-11-16T13:23:13Z</dcterms:created>
  <dcterms:modified xsi:type="dcterms:W3CDTF">2022-03-28T20:3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84780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7C4F6F202B989444B8E513D90358DBD5</vt:lpwstr>
  </property>
</Properties>
</file>